
<file path=[Content_Types].xml><?xml version="1.0" encoding="utf-8"?>
<Types xmlns="http://schemas.openxmlformats.org/package/2006/content-types">
  <Default Extension="jpeg" ContentType="image/jpeg"/>
  <Default Extension="mp3" ContentType="audio/m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4.xml" ContentType="application/vnd.openxmlformats-officedocument.presentationml.tags+xml"/>
  <Override PartName="/ppt/notesSlides/notesSlide1.xml" ContentType="application/vnd.openxmlformats-officedocument.presentationml.notesSlide+xml"/>
  <Override PartName="/ppt/tags/tag6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6.xml" ContentType="application/vnd.openxmlformats-officedocument.presentationml.tags+xml"/>
  <Override PartName="/ppt/notesSlides/notesSlide4.xml" ContentType="application/vnd.openxmlformats-officedocument.presentationml.notesSlide+xml"/>
  <Override PartName="/ppt/tags/tag67.xml" ContentType="application/vnd.openxmlformats-officedocument.presentationml.tags+xml"/>
  <Override PartName="/ppt/notesSlides/notesSlide5.xml" ContentType="application/vnd.openxmlformats-officedocument.presentationml.notesSlide+xml"/>
  <Override PartName="/ppt/tags/tag68.xml" ContentType="application/vnd.openxmlformats-officedocument.presentationml.tags+xml"/>
  <Override PartName="/ppt/notesSlides/notesSlide6.xml" ContentType="application/vnd.openxmlformats-officedocument.presentationml.notesSlide+xml"/>
  <Override PartName="/ppt/tags/tag69.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notesSlides/notesSlide8.xml" ContentType="application/vnd.openxmlformats-officedocument.presentationml.notesSlide+xml"/>
  <Override PartName="/ppt/tags/tag71.xml" ContentType="application/vnd.openxmlformats-officedocument.presentationml.tags+xml"/>
  <Override PartName="/ppt/notesSlides/notesSlide9.xml" ContentType="application/vnd.openxmlformats-officedocument.presentationml.notesSlide+xml"/>
  <Override PartName="/ppt/tags/tag72.xml" ContentType="application/vnd.openxmlformats-officedocument.presentationml.tags+xml"/>
  <Override PartName="/ppt/notesSlides/notesSlide10.xml" ContentType="application/vnd.openxmlformats-officedocument.presentationml.notesSlide+xml"/>
  <Override PartName="/ppt/tags/tag73.xml" ContentType="application/vnd.openxmlformats-officedocument.presentationml.tags+xml"/>
  <Override PartName="/ppt/notesSlides/notesSlide11.xml" ContentType="application/vnd.openxmlformats-officedocument.presentationml.notesSlide+xml"/>
  <Override PartName="/ppt/tags/tag74.xml" ContentType="application/vnd.openxmlformats-officedocument.presentationml.tags+xml"/>
  <Override PartName="/ppt/notesSlides/notesSlide12.xml" ContentType="application/vnd.openxmlformats-officedocument.presentationml.notesSlide+xml"/>
  <Override PartName="/ppt/tags/tag75.xml" ContentType="application/vnd.openxmlformats-officedocument.presentationml.tags+xml"/>
  <Override PartName="/ppt/notesSlides/notesSlide13.xml" ContentType="application/vnd.openxmlformats-officedocument.presentationml.notesSlide+xml"/>
  <Override PartName="/ppt/tags/tag76.xml" ContentType="application/vnd.openxmlformats-officedocument.presentationml.tags+xml"/>
  <Override PartName="/ppt/notesSlides/notesSlide14.xml" ContentType="application/vnd.openxmlformats-officedocument.presentationml.notesSlide+xml"/>
  <Override PartName="/ppt/tags/tag77.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6.xml" ContentType="application/vnd.openxmlformats-officedocument.presentationml.notesSlide+xml"/>
  <Override PartName="/ppt/tags/tag8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82.xml" ContentType="application/vnd.openxmlformats-officedocument.presentationml.tags+xml"/>
  <Override PartName="/ppt/notesSlides/notesSlide19.xml" ContentType="application/vnd.openxmlformats-officedocument.presentationml.notesSlide+xml"/>
  <Override PartName="/ppt/tags/tag83.xml" ContentType="application/vnd.openxmlformats-officedocument.presentationml.tags+xml"/>
  <Override PartName="/ppt/notesSlides/notesSlide20.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7"/>
  </p:notesMasterIdLst>
  <p:handoutMasterIdLst>
    <p:handoutMasterId r:id="rId38"/>
  </p:handoutMasterIdLst>
  <p:sldIdLst>
    <p:sldId id="257" r:id="rId2"/>
    <p:sldId id="266" r:id="rId3"/>
    <p:sldId id="323" r:id="rId4"/>
    <p:sldId id="394" r:id="rId5"/>
    <p:sldId id="401" r:id="rId6"/>
    <p:sldId id="395" r:id="rId7"/>
    <p:sldId id="413" r:id="rId8"/>
    <p:sldId id="358" r:id="rId9"/>
    <p:sldId id="414" r:id="rId10"/>
    <p:sldId id="415" r:id="rId11"/>
    <p:sldId id="416" r:id="rId12"/>
    <p:sldId id="417" r:id="rId13"/>
    <p:sldId id="418" r:id="rId14"/>
    <p:sldId id="419" r:id="rId15"/>
    <p:sldId id="420" r:id="rId16"/>
    <p:sldId id="421" r:id="rId17"/>
    <p:sldId id="422" r:id="rId18"/>
    <p:sldId id="423" r:id="rId19"/>
    <p:sldId id="424" r:id="rId20"/>
    <p:sldId id="425" r:id="rId21"/>
    <p:sldId id="391" r:id="rId22"/>
    <p:sldId id="392" r:id="rId23"/>
    <p:sldId id="393" r:id="rId24"/>
    <p:sldId id="387" r:id="rId25"/>
    <p:sldId id="407" r:id="rId26"/>
    <p:sldId id="406" r:id="rId27"/>
    <p:sldId id="402" r:id="rId28"/>
    <p:sldId id="408" r:id="rId29"/>
    <p:sldId id="388" r:id="rId30"/>
    <p:sldId id="398" r:id="rId31"/>
    <p:sldId id="409" r:id="rId32"/>
    <p:sldId id="410" r:id="rId33"/>
    <p:sldId id="412" r:id="rId34"/>
    <p:sldId id="411" r:id="rId35"/>
    <p:sldId id="389" r:id="rId36"/>
  </p:sldIdLst>
  <p:sldSz cx="12192000" cy="6858000"/>
  <p:notesSz cx="6858000" cy="9144000"/>
  <p:custDataLst>
    <p:tags r:id="rId3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77">
          <p15:clr>
            <a:srgbClr val="A4A3A4"/>
          </p15:clr>
        </p15:guide>
        <p15:guide id="2" pos="3774">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o" initials="M" lastIdx="0" clrIdx="0"/>
  <p:cmAuthor id="2" name="作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B0F0"/>
    <a:srgbClr val="0070C0"/>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78" autoAdjust="0"/>
    <p:restoredTop sz="94660"/>
  </p:normalViewPr>
  <p:slideViewPr>
    <p:cSldViewPr snapToGrid="0">
      <p:cViewPr varScale="1">
        <p:scale>
          <a:sx n="111" d="100"/>
          <a:sy n="111" d="100"/>
        </p:scale>
        <p:origin x="582" y="-354"/>
      </p:cViewPr>
      <p:guideLst>
        <p:guide orient="horz" pos="2177"/>
        <p:guide pos="3774"/>
      </p:guideLst>
    </p:cSldViewPr>
  </p:slideViewPr>
  <p:notesTextViewPr>
    <p:cViewPr>
      <p:scale>
        <a:sx n="3" d="2"/>
        <a:sy n="3" d="2"/>
      </p:scale>
      <p:origin x="0" y="0"/>
    </p:cViewPr>
  </p:notesTextViewPr>
  <p:notesViewPr>
    <p:cSldViewPr snapToGrid="0">
      <p:cViewPr varScale="1">
        <p:scale>
          <a:sx n="92" d="100"/>
          <a:sy n="92" d="100"/>
        </p:scale>
        <p:origin x="255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Loạt 1</c:v>
                </c:pt>
              </c:strCache>
            </c:strRef>
          </c:tx>
          <c:spPr>
            <a:solidFill>
              <a:srgbClr val="0067CC"/>
            </a:solidFill>
            <a:ln>
              <a:noFill/>
            </a:ln>
            <a:effectLst/>
          </c:spPr>
          <c:invertIfNegative val="0"/>
          <c:cat>
            <c:strRef>
              <c:f>Sheet1!$A$2:$A$5</c:f>
              <c:strCache>
                <c:ptCount val="4"/>
                <c:pt idx="0">
                  <c:v>quý đầu tiên</c:v>
                </c:pt>
                <c:pt idx="1">
                  <c:v>quý hai</c:v>
                </c:pt>
                <c:pt idx="2">
                  <c:v>quý 3</c:v>
                </c:pt>
                <c:pt idx="3">
                  <c:v>Quý IV</c:v>
                </c:pt>
              </c:strCache>
            </c:strRef>
          </c:cat>
          <c:val>
            <c:numRef>
              <c:f>Sheet1!$B$2:$B$5</c:f>
              <c:numCache>
                <c:formatCode>General</c:formatCode>
                <c:ptCount val="4"/>
                <c:pt idx="0">
                  <c:v>4.3</c:v>
                </c:pt>
                <c:pt idx="1">
                  <c:v>2.5</c:v>
                </c:pt>
                <c:pt idx="2">
                  <c:v>3.5</c:v>
                </c:pt>
                <c:pt idx="3">
                  <c:v>4.5</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3500-4A75-9C15-596DC5424976}"/>
            </c:ext>
          </c:extLst>
        </c:ser>
        <c:ser>
          <c:idx val="1"/>
          <c:order val="1"/>
          <c:tx>
            <c:strRef>
              <c:f>Sheet1!$C$1</c:f>
              <c:strCache>
                <c:ptCount val="1"/>
                <c:pt idx="0">
                  <c:v>Loạt 2</c:v>
                </c:pt>
              </c:strCache>
            </c:strRef>
          </c:tx>
          <c:spPr>
            <a:solidFill>
              <a:srgbClr val="0067CC">
                <a:alpha val="40000"/>
              </a:srgbClr>
            </a:solidFill>
            <a:ln>
              <a:noFill/>
            </a:ln>
            <a:effectLst/>
          </c:spPr>
          <c:invertIfNegative val="0"/>
          <c:cat>
            <c:strRef>
              <c:f>Sheet1!$A$2:$A$5</c:f>
              <c:strCache>
                <c:ptCount val="4"/>
                <c:pt idx="0">
                  <c:v>quý đầu tiên</c:v>
                </c:pt>
                <c:pt idx="1">
                  <c:v>quý hai</c:v>
                </c:pt>
                <c:pt idx="2">
                  <c:v>quý 3</c:v>
                </c:pt>
                <c:pt idx="3">
                  <c:v>Quý IV</c:v>
                </c:pt>
              </c:strCache>
            </c:strRef>
          </c:cat>
          <c:val>
            <c:numRef>
              <c:f>Sheet1!$C$2:$C$5</c:f>
              <c:numCache>
                <c:formatCode>General</c:formatCode>
                <c:ptCount val="4"/>
                <c:pt idx="0">
                  <c:v>2.4</c:v>
                </c:pt>
                <c:pt idx="1">
                  <c:v>4.4000000000000004</c:v>
                </c:pt>
                <c:pt idx="2">
                  <c:v>1.8</c:v>
                </c:pt>
                <c:pt idx="3">
                  <c:v>2.8</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3500-4A75-9C15-596DC5424976}"/>
            </c:ext>
          </c:extLst>
        </c:ser>
        <c:dLbls>
          <c:showLegendKey val="0"/>
          <c:showVal val="0"/>
          <c:showCatName val="0"/>
          <c:showSerName val="0"/>
          <c:showPercent val="0"/>
          <c:showBubbleSize val="0"/>
        </c:dLbls>
        <c:gapWidth val="219"/>
        <c:overlap val="-27"/>
        <c:axId val="1200663496"/>
        <c:axId val="930739480"/>
      </c:barChart>
      <c:catAx>
        <c:axId val="1200663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smtId="4294967295">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defRPr>
            </a:pPr>
            <a:endParaRPr lang="en-US"/>
          </a:p>
        </c:txPr>
        <c:crossAx val="930739480"/>
        <c:crosses val="autoZero"/>
        <c:auto val="0"/>
        <c:lblAlgn val="ctr"/>
        <c:lblOffset val="100"/>
        <c:noMultiLvlLbl val="0"/>
      </c:catAx>
      <c:valAx>
        <c:axId val="9307394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smtId="4294967295">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defRPr>
            </a:pPr>
            <a:endParaRPr lang="en-US"/>
          </a:p>
        </c:txPr>
        <c:crossAx val="1200663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zh-CN" sz="1195" b="0" i="0" u="none" strike="noStrike" kern="1200" baseline="0" smtId="4294967295">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defRPr>
          </a:pPr>
          <a:endParaRPr lang="en-US"/>
        </a:p>
      </c:txPr>
    </c:legend>
    <c:plotVisOnly val="1"/>
    <c:dispBlanksAs val="gap"/>
    <c:showDLblsOverMax val="0"/>
  </c:chart>
  <c:spPr>
    <a:noFill/>
    <a:ln>
      <a:noFill/>
    </a:ln>
    <a:effectLst/>
  </c:spPr>
  <c:txPr>
    <a:bodyPr/>
    <a:lstStyle/>
    <a:p>
      <a:pPr>
        <a:defRPr lang="zh-CN" smtId="4294967295">
          <a:latin typeface="Source Han Serif SC" panose="02020700000000000000" pitchFamily="18" charset="-122"/>
          <a:ea typeface="Source Han Serif SC" panose="02020700000000000000" pitchFamily="18" charset="-122"/>
          <a:cs typeface="+mn-ea"/>
          <a:sym typeface="Source Han Serif SC" panose="02020700000000000000" pitchFamily="18" charset="-122"/>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Loạt 1</c:v>
                </c:pt>
              </c:strCache>
            </c:strRef>
          </c:tx>
          <c:spPr>
            <a:solidFill>
              <a:srgbClr val="004195"/>
            </a:solidFill>
            <a:ln>
              <a:noFill/>
            </a:ln>
            <a:effectLst/>
          </c:spPr>
          <c:invertIfNegative val="0"/>
          <c:cat>
            <c:strRef>
              <c:f>Sheet1!$A$2:$A$5</c:f>
              <c:strCache>
                <c:ptCount val="4"/>
                <c:pt idx="0">
                  <c:v>quý đầu tiên</c:v>
                </c:pt>
                <c:pt idx="1">
                  <c:v>quý hai</c:v>
                </c:pt>
                <c:pt idx="2">
                  <c:v>quý 3</c:v>
                </c:pt>
                <c:pt idx="3">
                  <c:v>Quý IV</c:v>
                </c:pt>
              </c:strCache>
            </c:strRef>
          </c:cat>
          <c:val>
            <c:numRef>
              <c:f>Sheet1!$B$2:$B$5</c:f>
              <c:numCache>
                <c:formatCode>General</c:formatCode>
                <c:ptCount val="4"/>
                <c:pt idx="0">
                  <c:v>4.3</c:v>
                </c:pt>
                <c:pt idx="1">
                  <c:v>2.5</c:v>
                </c:pt>
                <c:pt idx="2">
                  <c:v>3.5</c:v>
                </c:pt>
                <c:pt idx="3">
                  <c:v>4.5</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21C2-440C-95A6-1810C754FAA7}"/>
            </c:ext>
          </c:extLst>
        </c:ser>
        <c:ser>
          <c:idx val="1"/>
          <c:order val="1"/>
          <c:tx>
            <c:strRef>
              <c:f>Sheet1!$C$1</c:f>
              <c:strCache>
                <c:ptCount val="1"/>
                <c:pt idx="0">
                  <c:v>Loạt 2</c:v>
                </c:pt>
              </c:strCache>
            </c:strRef>
          </c:tx>
          <c:spPr>
            <a:solidFill>
              <a:srgbClr val="004195">
                <a:alpha val="24000"/>
              </a:srgbClr>
            </a:solidFill>
            <a:ln>
              <a:noFill/>
            </a:ln>
            <a:effectLst/>
          </c:spPr>
          <c:invertIfNegative val="0"/>
          <c:cat>
            <c:strRef>
              <c:f>Sheet1!$A$2:$A$5</c:f>
              <c:strCache>
                <c:ptCount val="4"/>
                <c:pt idx="0">
                  <c:v>quý đầu tiên</c:v>
                </c:pt>
                <c:pt idx="1">
                  <c:v>quý hai</c:v>
                </c:pt>
                <c:pt idx="2">
                  <c:v>quý 3</c:v>
                </c:pt>
                <c:pt idx="3">
                  <c:v>Quý IV</c:v>
                </c:pt>
              </c:strCache>
            </c:strRef>
          </c:cat>
          <c:val>
            <c:numRef>
              <c:f>Sheet1!$C$2:$C$5</c:f>
              <c:numCache>
                <c:formatCode>General</c:formatCode>
                <c:ptCount val="4"/>
                <c:pt idx="0">
                  <c:v>2.4</c:v>
                </c:pt>
                <c:pt idx="1">
                  <c:v>4.4000000000000004</c:v>
                </c:pt>
                <c:pt idx="2">
                  <c:v>1.8</c:v>
                </c:pt>
                <c:pt idx="3">
                  <c:v>2.8</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21C2-440C-95A6-1810C754FAA7}"/>
            </c:ext>
          </c:extLst>
        </c:ser>
        <c:dLbls>
          <c:showLegendKey val="0"/>
          <c:showVal val="0"/>
          <c:showCatName val="0"/>
          <c:showSerName val="0"/>
          <c:showPercent val="0"/>
          <c:showBubbleSize val="0"/>
        </c:dLbls>
        <c:gapWidth val="219"/>
        <c:overlap val="-27"/>
        <c:axId val="1200663496"/>
        <c:axId val="930739480"/>
      </c:barChart>
      <c:catAx>
        <c:axId val="1200663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smtId="4294967295">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defRPr>
            </a:pPr>
            <a:endParaRPr lang="en-US"/>
          </a:p>
        </c:txPr>
        <c:crossAx val="930739480"/>
        <c:crosses val="autoZero"/>
        <c:auto val="0"/>
        <c:lblAlgn val="ctr"/>
        <c:lblOffset val="100"/>
        <c:noMultiLvlLbl val="0"/>
      </c:catAx>
      <c:valAx>
        <c:axId val="9307394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smtId="4294967295">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defRPr>
            </a:pPr>
            <a:endParaRPr lang="en-US"/>
          </a:p>
        </c:txPr>
        <c:crossAx val="1200663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zh-CN" sz="1195" b="0" i="0" u="none" strike="noStrike" kern="1200" baseline="0" smtId="4294967295">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defRPr>
          </a:pPr>
          <a:endParaRPr lang="en-US"/>
        </a:p>
      </c:txPr>
    </c:legend>
    <c:plotVisOnly val="1"/>
    <c:dispBlanksAs val="gap"/>
    <c:showDLblsOverMax val="0"/>
  </c:chart>
  <c:spPr>
    <a:noFill/>
    <a:ln>
      <a:noFill/>
    </a:ln>
    <a:effectLst/>
  </c:spPr>
  <c:txPr>
    <a:bodyPr/>
    <a:lstStyle/>
    <a:p>
      <a:pPr>
        <a:defRPr lang="zh-CN" smtId="4294967295">
          <a:latin typeface="Source Han Serif SC" panose="02020700000000000000" pitchFamily="18" charset="-122"/>
          <a:ea typeface="Source Han Serif SC" panose="02020700000000000000" pitchFamily="18" charset="-122"/>
          <a:cs typeface="+mn-ea"/>
          <a:sym typeface="Source Han Serif SC" panose="02020700000000000000" pitchFamily="18" charset="-122"/>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7/7</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t>2024/7/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486956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332309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940448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4654900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4058766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9473126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6411119F-D194-43C9-BBFC-0028CCEEBDEA}" type="slidenum">
              <a:rPr lang="zh-CN" altLang="en-US" smtClean="0"/>
              <a:t>2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BA86855-8D0F-4FB8-8AB6-33D9A113F64C}" type="slidenum">
              <a:rPr lang="zh-CN" altLang="en-US" smtClean="0"/>
              <a:t>30</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49EC556-0E4F-4361-96C2-0C2CAFEAB7B8}" type="slidenum">
              <a:rPr lang="zh-CN" altLang="en-US" smtClean="0">
                <a:solidFill>
                  <a:prstClr val="black"/>
                </a:solidFill>
              </a:rPr>
              <a:t>4</a:t>
            </a:fld>
            <a:endParaRPr lang="zh-CN" alt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BA86855-8D0F-4FB8-8AB6-33D9A113F64C}" type="slidenum">
              <a:rPr lang="zh-CN" altLang="en-US" smtClean="0"/>
              <a:t>6</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7009967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498270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0115699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3711347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Master" Target="../slideMasters/slideMaster1.xml"/><Relationship Id="rId5" Type="http://schemas.openxmlformats.org/officeDocument/2006/relationships/tags" Target="../tags/tag17.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slideMaster" Target="../slideMasters/slideMaster1.xml"/><Relationship Id="rId5" Type="http://schemas.openxmlformats.org/officeDocument/2006/relationships/tags" Target="../tags/tag54.xml"/><Relationship Id="rId4" Type="http://schemas.openxmlformats.org/officeDocument/2006/relationships/tags" Target="../tags/tag5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1"/>
            </p:custDataLst>
          </p:nvPr>
        </p:nvSpPr>
        <p:spPr>
          <a:xfrm>
            <a:off x="1198800" y="914400"/>
            <a:ext cx="9799200" cy="2570400"/>
          </a:xfrm>
        </p:spPr>
        <p:txBody>
          <a:bodyPr lIns="90000" tIns="46800" rIns="90000" bIns="46800" anchor="t" anchorCtr="0">
            <a:normAutofit/>
          </a:bodyPr>
          <a:lstStyle>
            <a:lvl1pPr algn="ctr">
              <a:defRPr sz="6000"/>
            </a:lvl1pPr>
          </a:lstStyle>
          <a:p>
            <a:r>
              <a:rPr lang="vi-VN" altLang="vi-VN">
                <a:latin typeface="Noto Sans"/>
                <a:ea typeface="Noto Sans"/>
              </a:rPr>
              <a:t>Nhấn vào đây để</a:t>
            </a:r>
          </a:p>
        </p:txBody>
      </p:sp>
      <p:sp>
        <p:nvSpPr>
          <p:cNvPr id="3" name="副标题 2"/>
          <p:cNvSpPr>
            <a:spLocks noGrp="1"/>
          </p:cNvSpPr>
          <p:nvPr>
            <p:ph type="subTitle" idx="1" hasCustomPrompt="1"/>
            <p:custDataLst>
              <p:tags r:id="rId2"/>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uFillTx/>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vi-VN" altLang="vi-VN">
                <a:latin typeface="Noto Sans"/>
                <a:ea typeface="Noto Sans"/>
              </a:rPr>
              <a:t>Bấm vào đây để chỉnh sửa phụ đề</a:t>
            </a:r>
          </a:p>
        </p:txBody>
      </p:sp>
      <p:sp>
        <p:nvSpPr>
          <p:cNvPr id="16" name="日期占位符 15"/>
          <p:cNvSpPr>
            <a:spLocks noGrp="1"/>
          </p:cNvSpPr>
          <p:nvPr>
            <p:ph type="dt" sz="half" idx="10"/>
            <p:custDataLst>
              <p:tags r:id="rId3"/>
            </p:custDataLst>
          </p:nvPr>
        </p:nvSpPr>
        <p:spPr/>
        <p:txBody>
          <a:bodyPr>
            <a:normAutofit/>
          </a:bodyPr>
          <a:lstStyle/>
          <a:p>
            <a:fld id="{760FBDFE-C587-4B4C-A407-44438C67B59E}" type="datetimeFigureOut">
              <a:rPr lang="vi-VN" altLang="vi-VN" sz="900" smtClean="0">
                <a:latin typeface="Noto Sans"/>
                <a:ea typeface="Noto Sans"/>
              </a:rPr>
              <a:t>07/07/2024</a:t>
            </a:fld>
            <a:endParaRPr lang="zh-CN" altLang="en-US"/>
          </a:p>
        </p:txBody>
      </p:sp>
      <p:sp>
        <p:nvSpPr>
          <p:cNvPr id="17" name="页脚占位符 16"/>
          <p:cNvSpPr>
            <a:spLocks noGrp="1"/>
          </p:cNvSpPr>
          <p:nvPr>
            <p:ph type="ftr" sz="quarter" idx="11"/>
            <p:custDataLst>
              <p:tags r:id="rId4"/>
            </p:custDataLst>
          </p:nvPr>
        </p:nvSpPr>
        <p:spPr/>
        <p:txBody>
          <a:bodyPr/>
          <a:lstStyle/>
          <a:p>
            <a:endParaRPr lang="zh-CN" altLang="en-US"/>
          </a:p>
        </p:txBody>
      </p:sp>
      <p:sp>
        <p:nvSpPr>
          <p:cNvPr id="18" name="灯片编号占位符 17"/>
          <p:cNvSpPr>
            <a:spLocks noGrp="1"/>
          </p:cNvSpPr>
          <p:nvPr>
            <p:ph type="sldNum" sz="quarter" idx="12"/>
            <p:custDataLst>
              <p:tags r:id="rId5"/>
            </p:custDataLst>
          </p:nvPr>
        </p:nvSpPr>
        <p:spPr/>
        <p:txBody>
          <a:bodyPr>
            <a:normAutofit/>
          </a:bodyPr>
          <a:lstStyle/>
          <a:p>
            <a:fld id="{49AE70B2-8BF9-45C0-BB95-33D1B9D3A854}" type="slidenum">
              <a:rPr lang="vi-VN" altLang="vi-VN" smtClean="0">
                <a:latin typeface="Noto Sans"/>
                <a:ea typeface="Noto Sans"/>
              </a:r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1"/>
            </p:custDataLst>
          </p:nvPr>
        </p:nvSpPr>
        <p:spPr/>
        <p:txBody>
          <a:bodyPr>
            <a:normAutofit/>
          </a:bodyPr>
          <a:lstStyle/>
          <a:p>
            <a:fld id="{760FBDFE-C587-4B4C-A407-44438C67B59E}" type="datetimeFigureOut">
              <a:rPr lang="vi-VN" altLang="vi-VN" sz="900" smtClean="0">
                <a:latin typeface="Noto Sans"/>
                <a:ea typeface="Noto Sans"/>
              </a:rPr>
              <a:t>07/07/2024</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normAutofit/>
          </a:bodyPr>
          <a:lstStyle/>
          <a:p>
            <a:fld id="{49AE70B2-8BF9-45C0-BB95-33D1B9D3A854}" type="slidenum">
              <a:rPr lang="vi-VN" altLang="vi-VN" smtClean="0">
                <a:latin typeface="Noto Sans"/>
                <a:ea typeface="Noto Sans"/>
              </a:rPr>
              <a:t>‹#›</a:t>
            </a:fld>
            <a:endParaRPr lang="zh-CN" altLang="en-US"/>
          </a:p>
        </p:txBody>
      </p:sp>
      <p:sp>
        <p:nvSpPr>
          <p:cNvPr id="7" name="内容占位符 6"/>
          <p:cNvSpPr>
            <a:spLocks noGrp="1"/>
          </p:cNvSpPr>
          <p:nvPr>
            <p:ph sz="quarter" idx="13"/>
            <p:custDataLst>
              <p:tags r:id="rId4"/>
            </p:custDataLst>
          </p:nvPr>
        </p:nvSpPr>
        <p:spPr>
          <a:xfrm>
            <a:off x="608400" y="774000"/>
            <a:ext cx="10972800" cy="5482800"/>
          </a:xfrm>
        </p:spPr>
        <p:txBody>
          <a:bodyPr>
            <a:normAutofit/>
          </a:bodyPr>
          <a:lstStyle/>
          <a:p>
            <a:pPr lvl="0"/>
            <a:r>
              <a:rPr lang="vi-VN" altLang="vi-VN">
                <a:latin typeface="Noto Sans"/>
                <a:ea typeface="Noto Sans"/>
              </a:rPr>
              <a:t>Bấm vào đây để chỉnh sửa kiểu văn bản chính</a:t>
            </a:r>
          </a:p>
          <a:p>
            <a:pPr lvl="1"/>
            <a:r>
              <a:rPr lang="vi-VN" altLang="vi-VN">
                <a:latin typeface="Noto Sans"/>
                <a:ea typeface="Noto Sans"/>
              </a:rPr>
              <a:t>Cấp độ thứ hai</a:t>
            </a:r>
          </a:p>
          <a:p>
            <a:pPr lvl="2"/>
            <a:r>
              <a:rPr lang="vi-VN" altLang="vi-VN">
                <a:latin typeface="Noto Sans"/>
                <a:ea typeface="Noto Sans"/>
              </a:rPr>
              <a:t>Cấp 3</a:t>
            </a:r>
          </a:p>
          <a:p>
            <a:pPr lvl="3"/>
            <a:r>
              <a:rPr lang="vi-VN" altLang="vi-VN">
                <a:latin typeface="Noto Sans"/>
                <a:ea typeface="Noto Sans"/>
              </a:rPr>
              <a:t>Cấp 4</a:t>
            </a:r>
          </a:p>
          <a:p>
            <a:pPr lvl="4"/>
            <a:r>
              <a:rPr lang="vi-VN" altLang="vi-VN">
                <a:latin typeface="Noto Sans"/>
                <a:ea typeface="Noto Sans"/>
              </a:rPr>
              <a:t>Cấp 5</a:t>
            </a: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1"/>
            </p:custDataLst>
          </p:nvPr>
        </p:nvSpPr>
        <p:spPr/>
        <p:txBody>
          <a:bodyPr>
            <a:normAutofit/>
          </a:bodyPr>
          <a:lstStyle/>
          <a:p>
            <a:fld id="{760FBDFE-C587-4B4C-A407-44438C67B59E}" type="datetimeFigureOut">
              <a:rPr lang="vi-VN" altLang="vi-VN" sz="900" smtClean="0">
                <a:latin typeface="Noto Sans"/>
                <a:ea typeface="Noto Sans"/>
              </a:rPr>
              <a:t>07/07/2024</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normAutofit/>
          </a:bodyPr>
          <a:lstStyle/>
          <a:p>
            <a:fld id="{49AE70B2-8BF9-45C0-BB95-33D1B9D3A854}" type="slidenum">
              <a:rPr lang="vi-VN" altLang="vi-VN" smtClean="0">
                <a:latin typeface="Noto Sans"/>
                <a:ea typeface="Noto Sans"/>
              </a:rPr>
              <a:t>‹#›</a:t>
            </a:fld>
            <a:endParaRPr lang="zh-CN" altLang="en-US"/>
          </a:p>
        </p:txBody>
      </p:sp>
      <p:sp>
        <p:nvSpPr>
          <p:cNvPr id="2" name="标题 1"/>
          <p:cNvSpPr>
            <a:spLocks noGrp="1"/>
          </p:cNvSpPr>
          <p:nvPr>
            <p:ph type="title" hasCustomPrompt="1"/>
            <p:custDataLst>
              <p:tags r:id="rId4"/>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vi-VN" altLang="vi-VN">
                <a:latin typeface="Noto Sans"/>
                <a:ea typeface="Noto Sans"/>
                <a:sym typeface="+mn-ea"/>
              </a:rPr>
              <a:t>Nhấn vào đây để chỉnh</a:t>
            </a:r>
          </a:p>
        </p:txBody>
      </p:sp>
      <p:sp>
        <p:nvSpPr>
          <p:cNvPr id="7" name="文本占位符 6"/>
          <p:cNvSpPr>
            <a:spLocks noGrp="1"/>
          </p:cNvSpPr>
          <p:nvPr>
            <p:ph type="body" sz="quarter" idx="13"/>
            <p:custDataLst>
              <p:tags r:id="rId5"/>
            </p:custDataLst>
          </p:nvPr>
        </p:nvSpPr>
        <p:spPr>
          <a:xfrm>
            <a:off x="1198800" y="3560400"/>
            <a:ext cx="9799200" cy="471600"/>
          </a:xfrm>
        </p:spPr>
        <p:txBody>
          <a:bodyPr lIns="90000" tIns="46800" rIns="90000" bIns="46800">
            <a:normAutofit fontScale="97500" lnSpcReduction="10000"/>
          </a:bodyPr>
          <a:lstStyle>
            <a:lvl1pPr algn="ctr">
              <a:lnSpc>
                <a:spcPct val="110000"/>
              </a:lnSpc>
              <a:buNone/>
              <a:defRPr sz="2400" spc="200"/>
            </a:lvl1pPr>
          </a:lstStyle>
          <a:p>
            <a:pPr lvl="0"/>
            <a:r>
              <a:rPr lang="vi-VN" altLang="vi-VN">
                <a:latin typeface="Noto Sans"/>
                <a:ea typeface="Noto Sans"/>
              </a:rPr>
              <a:t>Bấm vào đây để chỉnh sửa kiểu văn bản chính</a:t>
            </a: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IDDLE-4">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762750" y="2057400"/>
            <a:ext cx="4343400" cy="2724150"/>
          </a:xfrm>
          <a:solidFill>
            <a:schemeClr val="bg2">
              <a:lumMod val="95000"/>
            </a:schemeClr>
          </a:solidFill>
        </p:spPr>
        <p:txBody>
          <a:bodyPr anchor="ctr">
            <a:normAutofit/>
          </a:bodyPr>
          <a:lstStyle>
            <a:lvl1pPr marL="0" indent="0" algn="ctr">
              <a:buNone/>
              <a:defRPr sz="1800"/>
            </a:lvl1p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34988" y="2247039"/>
            <a:ext cx="5561012" cy="3448050"/>
          </a:xfrm>
          <a:prstGeom prst="rect">
            <a:avLst/>
          </a:prstGeom>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标题和内容">
    <p:bg>
      <p:bgPr>
        <a:blipFill dpi="0" rotWithShape="1">
          <a:blip r:embed="rId2">
            <a:lum/>
          </a:blip>
          <a:stretch>
            <a:fillRect t="-3000" b="-3000"/>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t" anchorCtr="0">
            <a:normAutofit/>
          </a:bodyPr>
          <a:lstStyle/>
          <a:p>
            <a:pPr lvl="0"/>
            <a:r>
              <a:rPr lang="vi-VN" altLang="vi-VN">
                <a:latin typeface="Noto Sans"/>
                <a:ea typeface="Noto Sans"/>
                <a:sym typeface="+mn-ea"/>
              </a:rPr>
              <a:t>Bấm vào đây để chỉnh sửa kiểu tiêu đề</a:t>
            </a:r>
          </a:p>
        </p:txBody>
      </p:sp>
      <p:sp>
        <p:nvSpPr>
          <p:cNvPr id="3" name="内容占位符 2"/>
          <p:cNvSpPr>
            <a:spLocks noGrp="1"/>
          </p:cNvSpPr>
          <p:nvPr>
            <p:ph idx="1"/>
            <p:custDataLst>
              <p:tags r:id="rId2"/>
            </p:custDataLst>
          </p:nvPr>
        </p:nvSpPr>
        <p:spPr>
          <a:xfrm>
            <a:off x="608400" y="1490400"/>
            <a:ext cx="10969200" cy="4759200"/>
          </a:xfrm>
        </p:spPr>
        <p:txBody>
          <a:bodyPr vert="horz" lIns="90000" tIns="46800" rIns="90000" bIns="46800" rtlCol="0">
            <a:normAutofit/>
          </a:bodyPr>
          <a:lstStyle/>
          <a:p>
            <a:pPr lvl="0"/>
            <a:r>
              <a:rPr lang="vi-VN" altLang="vi-VN">
                <a:latin typeface="Noto Sans"/>
                <a:ea typeface="Noto Sans"/>
                <a:sym typeface="+mn-ea"/>
              </a:rPr>
              <a:t>Bấm vào đây để chỉnh sửa kiểu văn bản chính</a:t>
            </a:r>
          </a:p>
          <a:p>
            <a:pPr lvl="1"/>
            <a:r>
              <a:rPr lang="vi-VN" altLang="vi-VN">
                <a:latin typeface="Noto Sans"/>
                <a:ea typeface="Noto Sans"/>
                <a:sym typeface="+mn-ea"/>
              </a:rPr>
              <a:t>Cấp độ thứ hai</a:t>
            </a:r>
          </a:p>
          <a:p>
            <a:pPr lvl="2"/>
            <a:r>
              <a:rPr lang="vi-VN" altLang="vi-VN">
                <a:latin typeface="Noto Sans"/>
                <a:ea typeface="Noto Sans"/>
                <a:sym typeface="+mn-ea"/>
              </a:rPr>
              <a:t>Cấp 3</a:t>
            </a:r>
          </a:p>
          <a:p>
            <a:pPr lvl="3"/>
            <a:r>
              <a:rPr lang="vi-VN" altLang="vi-VN">
                <a:latin typeface="Noto Sans"/>
                <a:ea typeface="Noto Sans"/>
                <a:sym typeface="+mn-ea"/>
              </a:rPr>
              <a:t>Cấp 4</a:t>
            </a:r>
          </a:p>
          <a:p>
            <a:pPr lvl="4"/>
            <a:r>
              <a:rPr lang="vi-VN" altLang="vi-VN">
                <a:latin typeface="Noto Sans"/>
                <a:ea typeface="Noto Sans"/>
                <a:sym typeface="+mn-ea"/>
              </a:rPr>
              <a:t>Cấp 5</a:t>
            </a:r>
          </a:p>
        </p:txBody>
      </p:sp>
      <p:sp>
        <p:nvSpPr>
          <p:cNvPr id="4" name="日期占位符 3"/>
          <p:cNvSpPr>
            <a:spLocks noGrp="1"/>
          </p:cNvSpPr>
          <p:nvPr>
            <p:ph type="dt" sz="half" idx="10"/>
            <p:custDataLst>
              <p:tags r:id="rId3"/>
            </p:custDataLst>
          </p:nvPr>
        </p:nvSpPr>
        <p:spPr/>
        <p:txBody>
          <a:bodyPr>
            <a:normAutofit/>
          </a:bodyPr>
          <a:lstStyle/>
          <a:p>
            <a:fld id="{760FBDFE-C587-4B4C-A407-44438C67B59E}" type="datetimeFigureOut">
              <a:rPr lang="vi-VN" altLang="vi-VN" sz="900" smtClean="0">
                <a:latin typeface="Noto Sans"/>
                <a:ea typeface="Noto Sans"/>
              </a:rPr>
              <a:t>07/07/2024</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normAutofit/>
          </a:bodyPr>
          <a:lstStyle/>
          <a:p>
            <a:fld id="{49AE70B2-8BF9-45C0-BB95-33D1B9D3A854}" type="slidenum">
              <a:rPr lang="vi-VN" altLang="vi-VN" smtClean="0">
                <a:latin typeface="Noto Sans"/>
                <a:ea typeface="Noto Sans"/>
              </a:r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1"/>
            </p:custDataLst>
          </p:nvPr>
        </p:nvSpPr>
        <p:spPr>
          <a:xfrm>
            <a:off x="1990800" y="3848400"/>
            <a:ext cx="7768800" cy="766800"/>
          </a:xfrm>
        </p:spPr>
        <p:txBody>
          <a:bodyPr lIns="90000" tIns="46800" rIns="90000" bIns="46800" anchor="t" anchorCtr="0">
            <a:normAutofit/>
          </a:bodyPr>
          <a:lstStyle>
            <a:lvl1pPr>
              <a:defRPr sz="4400"/>
            </a:lvl1pPr>
          </a:lstStyle>
          <a:p>
            <a:r>
              <a:rPr lang="vi-VN" altLang="vi-VN">
                <a:latin typeface="Noto Sans"/>
                <a:ea typeface="Noto Sans"/>
              </a:rPr>
              <a:t>Nhấn vào đây để chỉnh</a:t>
            </a:r>
          </a:p>
        </p:txBody>
      </p:sp>
      <p:sp>
        <p:nvSpPr>
          <p:cNvPr id="3" name="文本占位符 2"/>
          <p:cNvSpPr>
            <a:spLocks noGrp="1"/>
          </p:cNvSpPr>
          <p:nvPr>
            <p:ph type="body" idx="1" hasCustomPrompt="1"/>
            <p:custDataLst>
              <p:tags r:id="rId2"/>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vi-VN" altLang="vi-VN">
                <a:latin typeface="Noto Sans"/>
                <a:ea typeface="Noto Sans"/>
              </a:rPr>
              <a:t>Bấm vào đây để chỉnh sửa văn bản</a:t>
            </a:r>
          </a:p>
        </p:txBody>
      </p:sp>
      <p:sp>
        <p:nvSpPr>
          <p:cNvPr id="4" name="日期占位符 3"/>
          <p:cNvSpPr>
            <a:spLocks noGrp="1"/>
          </p:cNvSpPr>
          <p:nvPr>
            <p:ph type="dt" sz="half" idx="10"/>
            <p:custDataLst>
              <p:tags r:id="rId3"/>
            </p:custDataLst>
          </p:nvPr>
        </p:nvSpPr>
        <p:spPr/>
        <p:txBody>
          <a:bodyPr>
            <a:normAutofit/>
          </a:bodyPr>
          <a:lstStyle/>
          <a:p>
            <a:fld id="{760FBDFE-C587-4B4C-A407-44438C67B59E}" type="datetimeFigureOut">
              <a:rPr lang="vi-VN" altLang="vi-VN" sz="900" smtClean="0">
                <a:latin typeface="Noto Sans"/>
                <a:ea typeface="Noto Sans"/>
              </a:rPr>
              <a:t>07/07/2024</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normAutofit/>
          </a:bodyPr>
          <a:lstStyle/>
          <a:p>
            <a:fld id="{49AE70B2-8BF9-45C0-BB95-33D1B9D3A854}" type="slidenum">
              <a:rPr lang="vi-VN" altLang="vi-VN" smtClean="0">
                <a:latin typeface="Noto Sans"/>
                <a:ea typeface="Noto Sans"/>
              </a:r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t" anchorCtr="0">
            <a:normAutofit/>
          </a:bodyPr>
          <a:lstStyle/>
          <a:p>
            <a:pPr lvl="0"/>
            <a:r>
              <a:rPr lang="vi-VN" altLang="vi-VN">
                <a:latin typeface="Noto Sans"/>
                <a:ea typeface="Noto Sans"/>
                <a:sym typeface="+mn-ea"/>
              </a:rPr>
              <a:t>Bấm vào đây để chỉnh sửa kiểu tiêu đề</a:t>
            </a:r>
          </a:p>
        </p:txBody>
      </p:sp>
      <p:sp>
        <p:nvSpPr>
          <p:cNvPr id="3" name="内容占位符 2"/>
          <p:cNvSpPr>
            <a:spLocks noGrp="1"/>
          </p:cNvSpPr>
          <p:nvPr>
            <p:ph sz="half" idx="1"/>
            <p:custDataLst>
              <p:tags r:id="rId2"/>
            </p:custDataLst>
          </p:nvPr>
        </p:nvSpPr>
        <p:spPr>
          <a:xfrm>
            <a:off x="608400" y="1501200"/>
            <a:ext cx="5176800" cy="4748400"/>
          </a:xfrm>
        </p:spPr>
        <p:txBody>
          <a:bodyPr vert="horz" lIns="90000" tIns="46800" rIns="90000" bIns="46800" rtlCol="0">
            <a:normAutofit/>
          </a:bodyPr>
          <a:lstStyle/>
          <a:p>
            <a:pPr lvl="0"/>
            <a:r>
              <a:rPr lang="vi-VN" altLang="vi-VN">
                <a:latin typeface="Noto Sans"/>
                <a:ea typeface="Noto Sans"/>
                <a:sym typeface="+mn-ea"/>
              </a:rPr>
              <a:t>Bấm vào đây để</a:t>
            </a:r>
          </a:p>
          <a:p>
            <a:pPr lvl="1"/>
            <a:r>
              <a:rPr lang="vi-VN" altLang="vi-VN">
                <a:latin typeface="Noto Sans"/>
                <a:ea typeface="Noto Sans"/>
                <a:sym typeface="+mn-ea"/>
              </a:rPr>
              <a:t>Cấp độ thứ hai</a:t>
            </a:r>
          </a:p>
          <a:p>
            <a:pPr lvl="2"/>
            <a:r>
              <a:rPr lang="vi-VN" altLang="vi-VN">
                <a:latin typeface="Noto Sans"/>
                <a:ea typeface="Noto Sans"/>
                <a:sym typeface="+mn-ea"/>
              </a:rPr>
              <a:t>Cấp 3</a:t>
            </a:r>
          </a:p>
          <a:p>
            <a:pPr lvl="3"/>
            <a:r>
              <a:rPr lang="vi-VN" altLang="vi-VN">
                <a:latin typeface="Noto Sans"/>
                <a:ea typeface="Noto Sans"/>
                <a:sym typeface="+mn-ea"/>
              </a:rPr>
              <a:t>Cấp 4</a:t>
            </a:r>
          </a:p>
          <a:p>
            <a:pPr lvl="4"/>
            <a:r>
              <a:rPr lang="vi-VN" altLang="vi-VN">
                <a:latin typeface="Noto Sans"/>
                <a:ea typeface="Noto Sans"/>
                <a:sym typeface="+mn-ea"/>
              </a:rPr>
              <a:t>Cấp 5</a:t>
            </a:r>
          </a:p>
        </p:txBody>
      </p:sp>
      <p:sp>
        <p:nvSpPr>
          <p:cNvPr id="4" name="内容占位符 3"/>
          <p:cNvSpPr>
            <a:spLocks noGrp="1"/>
          </p:cNvSpPr>
          <p:nvPr>
            <p:ph sz="half" idx="2"/>
            <p:custDataLst>
              <p:tags r:id="rId3"/>
            </p:custDataLst>
          </p:nvPr>
        </p:nvSpPr>
        <p:spPr>
          <a:xfrm>
            <a:off x="6411600" y="1501200"/>
            <a:ext cx="5176800" cy="4748400"/>
          </a:xfrm>
        </p:spPr>
        <p:txBody>
          <a:bodyPr lIns="90000" tIns="46800" rIns="90000" bIns="46800">
            <a:normAutofit/>
          </a:bodyPr>
          <a:lstStyle/>
          <a:p>
            <a:pPr lvl="0"/>
            <a:r>
              <a:rPr lang="vi-VN" altLang="vi-VN">
                <a:latin typeface="Noto Sans"/>
                <a:ea typeface="Noto Sans"/>
              </a:rPr>
              <a:t>Bấm vào đây để</a:t>
            </a:r>
          </a:p>
          <a:p>
            <a:pPr lvl="1"/>
            <a:r>
              <a:rPr lang="vi-VN" altLang="vi-VN">
                <a:latin typeface="Noto Sans"/>
                <a:ea typeface="Noto Sans"/>
              </a:rPr>
              <a:t>Cấp độ thứ hai</a:t>
            </a:r>
          </a:p>
          <a:p>
            <a:pPr lvl="2"/>
            <a:r>
              <a:rPr lang="vi-VN" altLang="vi-VN">
                <a:latin typeface="Noto Sans"/>
                <a:ea typeface="Noto Sans"/>
              </a:rPr>
              <a:t>Cấp 3</a:t>
            </a:r>
          </a:p>
          <a:p>
            <a:pPr lvl="3"/>
            <a:r>
              <a:rPr lang="vi-VN" altLang="vi-VN">
                <a:latin typeface="Noto Sans"/>
                <a:ea typeface="Noto Sans"/>
              </a:rPr>
              <a:t>Cấp 4</a:t>
            </a:r>
          </a:p>
          <a:p>
            <a:pPr lvl="4"/>
            <a:r>
              <a:rPr lang="vi-VN" altLang="vi-VN">
                <a:latin typeface="Noto Sans"/>
                <a:ea typeface="Noto Sans"/>
              </a:rPr>
              <a:t>Cấp 5</a:t>
            </a:r>
          </a:p>
        </p:txBody>
      </p:sp>
      <p:sp>
        <p:nvSpPr>
          <p:cNvPr id="5" name="日期占位符 4"/>
          <p:cNvSpPr>
            <a:spLocks noGrp="1"/>
          </p:cNvSpPr>
          <p:nvPr>
            <p:ph type="dt" sz="half" idx="10"/>
            <p:custDataLst>
              <p:tags r:id="rId4"/>
            </p:custDataLst>
          </p:nvPr>
        </p:nvSpPr>
        <p:spPr/>
        <p:txBody>
          <a:bodyPr>
            <a:normAutofit/>
          </a:bodyPr>
          <a:lstStyle/>
          <a:p>
            <a:fld id="{760FBDFE-C587-4B4C-A407-44438C67B59E}" type="datetimeFigureOut">
              <a:rPr lang="vi-VN" altLang="vi-VN" sz="900" smtClean="0">
                <a:latin typeface="Noto Sans"/>
                <a:ea typeface="Noto Sans"/>
              </a:rPr>
              <a:t>07/07/2024</a:t>
            </a:fld>
            <a:endParaRPr lang="zh-CN" altLang="en-US"/>
          </a:p>
        </p:txBody>
      </p:sp>
      <p:sp>
        <p:nvSpPr>
          <p:cNvPr id="6" name="页脚占位符 5"/>
          <p:cNvSpPr>
            <a:spLocks noGrp="1"/>
          </p:cNvSpPr>
          <p:nvPr>
            <p:ph type="ftr" sz="quarter" idx="11"/>
            <p:custDataLst>
              <p:tags r:id="rId5"/>
            </p:custDataLst>
          </p:nvPr>
        </p:nvSpPr>
        <p:spPr/>
        <p:txBody>
          <a:bodyPr/>
          <a:lstStyle/>
          <a:p>
            <a:endParaRPr lang="zh-CN" altLang="en-US"/>
          </a:p>
        </p:txBody>
      </p:sp>
      <p:sp>
        <p:nvSpPr>
          <p:cNvPr id="7" name="灯片编号占位符 6"/>
          <p:cNvSpPr>
            <a:spLocks noGrp="1"/>
          </p:cNvSpPr>
          <p:nvPr>
            <p:ph type="sldNum" sz="quarter" idx="12"/>
            <p:custDataLst>
              <p:tags r:id="rId6"/>
            </p:custDataLst>
          </p:nvPr>
        </p:nvSpPr>
        <p:spPr/>
        <p:txBody>
          <a:bodyPr>
            <a:normAutofit/>
          </a:bodyPr>
          <a:lstStyle/>
          <a:p>
            <a:fld id="{49AE70B2-8BF9-45C0-BB95-33D1B9D3A854}" type="slidenum">
              <a:rPr lang="vi-VN" altLang="vi-VN" smtClean="0">
                <a:latin typeface="Noto Sans"/>
                <a:ea typeface="Noto Sans"/>
              </a:r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t" anchorCtr="0">
            <a:normAutofit/>
          </a:bodyPr>
          <a:lstStyle/>
          <a:p>
            <a:pPr lvl="0"/>
            <a:r>
              <a:rPr lang="vi-VN" altLang="vi-VN">
                <a:latin typeface="Noto Sans"/>
                <a:ea typeface="Noto Sans"/>
                <a:sym typeface="+mn-ea"/>
              </a:rPr>
              <a:t>Bấm vào đây để chỉnh sửa kiểu tiêu đề</a:t>
            </a:r>
          </a:p>
        </p:txBody>
      </p:sp>
      <p:sp>
        <p:nvSpPr>
          <p:cNvPr id="3" name="文本占位符 2"/>
          <p:cNvSpPr>
            <a:spLocks noGrp="1"/>
          </p:cNvSpPr>
          <p:nvPr>
            <p:ph type="body" idx="1" hasCustomPrompt="1"/>
            <p:custDataLst>
              <p:tags r:id="rId2"/>
            </p:custDataLst>
          </p:nvPr>
        </p:nvSpPr>
        <p:spPr>
          <a:xfrm>
            <a:off x="608400" y="1429200"/>
            <a:ext cx="5342400" cy="381600"/>
          </a:xfrm>
        </p:spPr>
        <p:txBody>
          <a:bodyPr lIns="101600" tIns="38100" rIns="76200" bIns="38100" anchor="t" anchorCtr="0">
            <a:normAutofit fontScale="95000" lnSpcReduction="20000"/>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vi-VN" altLang="vi-VN">
                <a:latin typeface="Noto Sans"/>
                <a:ea typeface="Noto Sans"/>
              </a:rPr>
              <a:t>Bấm vào đây để chỉnh sửa văn bản</a:t>
            </a:r>
          </a:p>
        </p:txBody>
      </p:sp>
      <p:sp>
        <p:nvSpPr>
          <p:cNvPr id="4" name="内容占位符 3"/>
          <p:cNvSpPr>
            <a:spLocks noGrp="1"/>
          </p:cNvSpPr>
          <p:nvPr>
            <p:ph sz="half" idx="2"/>
            <p:custDataLst>
              <p:tags r:id="rId3"/>
            </p:custDataLst>
          </p:nvPr>
        </p:nvSpPr>
        <p:spPr>
          <a:xfrm>
            <a:off x="608400" y="1854000"/>
            <a:ext cx="5342400" cy="4395600"/>
          </a:xfrm>
        </p:spPr>
        <p:txBody>
          <a:bodyPr vert="horz" lIns="101600" tIns="0" rIns="82550" bIns="0" rtlCol="0">
            <a:normAutofit/>
          </a:bodyPr>
          <a:lstStyle/>
          <a:p>
            <a:pPr lvl="0"/>
            <a:r>
              <a:rPr lang="vi-VN" altLang="vi-VN">
                <a:latin typeface="Noto Sans"/>
                <a:ea typeface="Noto Sans"/>
                <a:sym typeface="+mn-ea"/>
              </a:rPr>
              <a:t>Bấm vào đây để</a:t>
            </a:r>
          </a:p>
          <a:p>
            <a:pPr lvl="1"/>
            <a:r>
              <a:rPr lang="vi-VN" altLang="vi-VN">
                <a:latin typeface="Noto Sans"/>
                <a:ea typeface="Noto Sans"/>
                <a:sym typeface="+mn-ea"/>
              </a:rPr>
              <a:t>Cấp độ thứ hai</a:t>
            </a:r>
          </a:p>
          <a:p>
            <a:pPr lvl="2"/>
            <a:r>
              <a:rPr lang="vi-VN" altLang="vi-VN">
                <a:latin typeface="Noto Sans"/>
                <a:ea typeface="Noto Sans"/>
                <a:sym typeface="+mn-ea"/>
              </a:rPr>
              <a:t>Cấp 3</a:t>
            </a:r>
          </a:p>
          <a:p>
            <a:pPr lvl="3"/>
            <a:r>
              <a:rPr lang="vi-VN" altLang="vi-VN">
                <a:latin typeface="Noto Sans"/>
                <a:ea typeface="Noto Sans"/>
                <a:sym typeface="+mn-ea"/>
              </a:rPr>
              <a:t>Cấp 4</a:t>
            </a:r>
          </a:p>
          <a:p>
            <a:pPr lvl="4"/>
            <a:r>
              <a:rPr lang="vi-VN" altLang="vi-VN">
                <a:latin typeface="Noto Sans"/>
                <a:ea typeface="Noto Sans"/>
                <a:sym typeface="+mn-ea"/>
              </a:rPr>
              <a:t>Cấp 5</a:t>
            </a:r>
          </a:p>
        </p:txBody>
      </p:sp>
      <p:sp>
        <p:nvSpPr>
          <p:cNvPr id="5" name="文本占位符 4"/>
          <p:cNvSpPr>
            <a:spLocks noGrp="1"/>
          </p:cNvSpPr>
          <p:nvPr>
            <p:ph type="body" sz="quarter" idx="3" hasCustomPrompt="1"/>
            <p:custDataLst>
              <p:tags r:id="rId4"/>
            </p:custDataLst>
          </p:nvPr>
        </p:nvSpPr>
        <p:spPr>
          <a:xfrm>
            <a:off x="6235750" y="1421729"/>
            <a:ext cx="5342400" cy="381600"/>
          </a:xfrm>
        </p:spPr>
        <p:txBody>
          <a:bodyPr vert="horz" lIns="101600" tIns="38100" rIns="76200" bIns="38100" rtlCol="0" anchor="t" anchorCtr="0">
            <a:normAutofit fontScale="95000" lnSpcReduction="20000"/>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vi-VN" altLang="vi-VN">
                <a:latin typeface="Noto Sans"/>
                <a:ea typeface="Noto Sans"/>
                <a:sym typeface="+mn-ea"/>
              </a:rPr>
              <a:t>Bấm vào đây để chỉnh sửa văn bản</a:t>
            </a:r>
          </a:p>
        </p:txBody>
      </p:sp>
      <p:sp>
        <p:nvSpPr>
          <p:cNvPr id="6" name="内容占位符 5"/>
          <p:cNvSpPr>
            <a:spLocks noGrp="1"/>
          </p:cNvSpPr>
          <p:nvPr>
            <p:ph sz="quarter" idx="4"/>
            <p:custDataLst>
              <p:tags r:id="rId5"/>
            </p:custDataLst>
          </p:nvPr>
        </p:nvSpPr>
        <p:spPr>
          <a:xfrm>
            <a:off x="6235750" y="1854000"/>
            <a:ext cx="5342400" cy="4395600"/>
          </a:xfrm>
        </p:spPr>
        <p:txBody>
          <a:bodyPr vert="horz" lIns="101600" tIns="0" rIns="82550" bIns="0" rtlCol="0">
            <a:normAutofit/>
          </a:bodyPr>
          <a:lstStyle/>
          <a:p>
            <a:pPr lvl="0"/>
            <a:r>
              <a:rPr lang="vi-VN" altLang="vi-VN">
                <a:latin typeface="Noto Sans"/>
                <a:ea typeface="Noto Sans"/>
                <a:sym typeface="+mn-ea"/>
              </a:rPr>
              <a:t>Bấm vào đây để</a:t>
            </a:r>
          </a:p>
          <a:p>
            <a:pPr lvl="1"/>
            <a:r>
              <a:rPr lang="vi-VN" altLang="vi-VN">
                <a:latin typeface="Noto Sans"/>
                <a:ea typeface="Noto Sans"/>
                <a:sym typeface="+mn-ea"/>
              </a:rPr>
              <a:t>Cấp độ thứ hai</a:t>
            </a:r>
          </a:p>
          <a:p>
            <a:pPr lvl="2"/>
            <a:r>
              <a:rPr lang="vi-VN" altLang="vi-VN">
                <a:latin typeface="Noto Sans"/>
                <a:ea typeface="Noto Sans"/>
                <a:sym typeface="+mn-ea"/>
              </a:rPr>
              <a:t>Cấp 3</a:t>
            </a:r>
          </a:p>
          <a:p>
            <a:pPr lvl="3"/>
            <a:r>
              <a:rPr lang="vi-VN" altLang="vi-VN">
                <a:latin typeface="Noto Sans"/>
                <a:ea typeface="Noto Sans"/>
                <a:sym typeface="+mn-ea"/>
              </a:rPr>
              <a:t>Cấp 4</a:t>
            </a:r>
          </a:p>
          <a:p>
            <a:pPr lvl="4"/>
            <a:r>
              <a:rPr lang="vi-VN" altLang="vi-VN">
                <a:latin typeface="Noto Sans"/>
                <a:ea typeface="Noto Sans"/>
                <a:sym typeface="+mn-ea"/>
              </a:rPr>
              <a:t>Cấp 5</a:t>
            </a:r>
          </a:p>
        </p:txBody>
      </p:sp>
      <p:sp>
        <p:nvSpPr>
          <p:cNvPr id="7" name="日期占位符 6"/>
          <p:cNvSpPr>
            <a:spLocks noGrp="1"/>
          </p:cNvSpPr>
          <p:nvPr>
            <p:ph type="dt" sz="half" idx="10"/>
            <p:custDataLst>
              <p:tags r:id="rId6"/>
            </p:custDataLst>
          </p:nvPr>
        </p:nvSpPr>
        <p:spPr/>
        <p:txBody>
          <a:bodyPr>
            <a:normAutofit/>
          </a:bodyPr>
          <a:lstStyle/>
          <a:p>
            <a:fld id="{760FBDFE-C587-4B4C-A407-44438C67B59E}" type="datetimeFigureOut">
              <a:rPr lang="vi-VN" altLang="vi-VN" sz="900" smtClean="0">
                <a:latin typeface="Noto Sans"/>
                <a:ea typeface="Noto Sans"/>
              </a:rPr>
              <a:t>07/07/2024</a:t>
            </a:fld>
            <a:endParaRPr lang="zh-CN" altLang="en-US"/>
          </a:p>
        </p:txBody>
      </p:sp>
      <p:sp>
        <p:nvSpPr>
          <p:cNvPr id="8" name="页脚占位符 7"/>
          <p:cNvSpPr>
            <a:spLocks noGrp="1"/>
          </p:cNvSpPr>
          <p:nvPr>
            <p:ph type="ftr" sz="quarter" idx="11"/>
            <p:custDataLst>
              <p:tags r:id="rId7"/>
            </p:custDataLst>
          </p:nvPr>
        </p:nvSpPr>
        <p:spPr/>
        <p:txBody>
          <a:bodyPr/>
          <a:lstStyle/>
          <a:p>
            <a:endParaRPr lang="zh-CN" altLang="en-US"/>
          </a:p>
        </p:txBody>
      </p:sp>
      <p:sp>
        <p:nvSpPr>
          <p:cNvPr id="9" name="灯片编号占位符 8"/>
          <p:cNvSpPr>
            <a:spLocks noGrp="1"/>
          </p:cNvSpPr>
          <p:nvPr>
            <p:ph type="sldNum" sz="quarter" idx="12"/>
            <p:custDataLst>
              <p:tags r:id="rId8"/>
            </p:custDataLst>
          </p:nvPr>
        </p:nvSpPr>
        <p:spPr/>
        <p:txBody>
          <a:bodyPr>
            <a:normAutofit/>
          </a:bodyPr>
          <a:lstStyle/>
          <a:p>
            <a:fld id="{49AE70B2-8BF9-45C0-BB95-33D1B9D3A854}" type="slidenum">
              <a:rPr lang="vi-VN" altLang="vi-VN" smtClean="0">
                <a:latin typeface="Noto Sans"/>
                <a:ea typeface="Noto Sans"/>
              </a:r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t" anchorCtr="0">
            <a:normAutofit/>
          </a:bodyPr>
          <a:lstStyle/>
          <a:p>
            <a:pPr lvl="0"/>
            <a:r>
              <a:rPr lang="vi-VN" altLang="vi-VN">
                <a:latin typeface="Noto Sans"/>
                <a:ea typeface="Noto Sans"/>
                <a:sym typeface="+mn-ea"/>
              </a:rPr>
              <a:t>Bấm vào đây để chỉnh sửa kiểu tiêu đề</a:t>
            </a:r>
          </a:p>
        </p:txBody>
      </p:sp>
      <p:sp>
        <p:nvSpPr>
          <p:cNvPr id="3" name="日期占位符 2"/>
          <p:cNvSpPr>
            <a:spLocks noGrp="1"/>
          </p:cNvSpPr>
          <p:nvPr>
            <p:ph type="dt" sz="half" idx="10"/>
            <p:custDataLst>
              <p:tags r:id="rId2"/>
            </p:custDataLst>
          </p:nvPr>
        </p:nvSpPr>
        <p:spPr/>
        <p:txBody>
          <a:bodyPr>
            <a:normAutofit/>
          </a:bodyPr>
          <a:lstStyle/>
          <a:p>
            <a:fld id="{760FBDFE-C587-4B4C-A407-44438C67B59E}" type="datetimeFigureOut">
              <a:rPr lang="vi-VN" altLang="vi-VN" sz="900" smtClean="0">
                <a:latin typeface="Noto Sans"/>
                <a:ea typeface="Noto Sans"/>
              </a:rPr>
              <a:t>07/07/2024</a:t>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normAutofit/>
          </a:bodyPr>
          <a:lstStyle/>
          <a:p>
            <a:fld id="{49AE70B2-8BF9-45C0-BB95-33D1B9D3A854}" type="slidenum">
              <a:rPr lang="vi-VN" altLang="vi-VN" smtClean="0">
                <a:latin typeface="Noto Sans"/>
                <a:ea typeface="Noto Sans"/>
              </a:r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1"/>
            </p:custDataLst>
          </p:nvPr>
        </p:nvSpPr>
        <p:spPr/>
        <p:txBody>
          <a:bodyPr>
            <a:normAutofit/>
          </a:bodyPr>
          <a:lstStyle/>
          <a:p>
            <a:fld id="{760FBDFE-C587-4B4C-A407-44438C67B59E}" type="datetimeFigureOut">
              <a:rPr lang="vi-VN" altLang="vi-VN" sz="900" smtClean="0">
                <a:latin typeface="Noto Sans"/>
                <a:ea typeface="Noto Sans"/>
              </a:rPr>
              <a:t>07/07/2024</a:t>
            </a:fld>
            <a:endParaRPr lang="zh-CN" altLang="en-US"/>
          </a:p>
        </p:txBody>
      </p:sp>
      <p:sp>
        <p:nvSpPr>
          <p:cNvPr id="3" name="页脚占位符 2"/>
          <p:cNvSpPr>
            <a:spLocks noGrp="1"/>
          </p:cNvSpPr>
          <p:nvPr>
            <p:ph type="ftr" sz="quarter" idx="11"/>
            <p:custDataLst>
              <p:tags r:id="rId2"/>
            </p:custDataLst>
          </p:nvPr>
        </p:nvSpPr>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normAutofit/>
          </a:bodyPr>
          <a:lstStyle/>
          <a:p>
            <a:fld id="{49AE70B2-8BF9-45C0-BB95-33D1B9D3A854}" type="slidenum">
              <a:rPr lang="vi-VN" altLang="vi-VN" smtClean="0">
                <a:latin typeface="Noto Sans"/>
                <a:ea typeface="Noto Sans"/>
              </a:r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1"/>
            </p:custDataLst>
          </p:nvPr>
        </p:nvSpPr>
        <p:spPr>
          <a:xfrm>
            <a:off x="608330" y="1555115"/>
            <a:ext cx="5233035" cy="4608195"/>
          </a:xfrm>
        </p:spPr>
        <p:txBody>
          <a:bodyPr vert="horz" lIns="90000" tIns="46800" rIns="90000" bIns="46800" rtlCol="0">
            <a:normAutofit/>
          </a:bodyPr>
          <a:lstStyle>
            <a:lvl1pPr>
              <a:buNone/>
              <a:defRPr sz="1600"/>
            </a:lvl1pPr>
          </a:lstStyle>
          <a:p>
            <a:pPr lvl="0"/>
            <a:endParaRPr>
              <a:sym typeface="+mn-ea"/>
            </a:endParaRPr>
          </a:p>
        </p:txBody>
      </p:sp>
      <p:sp>
        <p:nvSpPr>
          <p:cNvPr id="4" name="文本占位符 3"/>
          <p:cNvSpPr>
            <a:spLocks noGrp="1"/>
          </p:cNvSpPr>
          <p:nvPr>
            <p:ph type="body" sz="half" idx="2"/>
            <p:custDataLst>
              <p:tags r:id="rId2"/>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vi-VN" altLang="vi-VN">
                <a:latin typeface="Noto Sans"/>
                <a:ea typeface="Noto Sans"/>
                <a:sym typeface="+mn-ea"/>
              </a:rPr>
              <a:t>Bấm vào đây để chỉnh</a:t>
            </a:r>
          </a:p>
        </p:txBody>
      </p:sp>
      <p:sp>
        <p:nvSpPr>
          <p:cNvPr id="5" name="日期占位符 4"/>
          <p:cNvSpPr>
            <a:spLocks noGrp="1"/>
          </p:cNvSpPr>
          <p:nvPr>
            <p:ph type="dt" sz="half" idx="10"/>
            <p:custDataLst>
              <p:tags r:id="rId3"/>
            </p:custDataLst>
          </p:nvPr>
        </p:nvSpPr>
        <p:spPr/>
        <p:txBody>
          <a:bodyPr>
            <a:normAutofit/>
          </a:bodyPr>
          <a:lstStyle/>
          <a:p>
            <a:fld id="{9EFD9D74-47D9-4702-A33C-335B63B48DBF}" type="datetimeFigureOut">
              <a:rPr lang="vi-VN" altLang="vi-VN" sz="900" smtClean="0">
                <a:latin typeface="Noto Sans"/>
                <a:ea typeface="Noto Sans"/>
              </a:rPr>
              <a:t>07/07/2024</a:t>
            </a:fld>
            <a:endParaRPr lang="zh-CN" altLang="en-US"/>
          </a:p>
        </p:txBody>
      </p:sp>
      <p:sp>
        <p:nvSpPr>
          <p:cNvPr id="6" name="页脚占位符 5"/>
          <p:cNvSpPr>
            <a:spLocks noGrp="1"/>
          </p:cNvSpPr>
          <p:nvPr>
            <p:ph type="ftr" sz="quarter" idx="11"/>
            <p:custDataLst>
              <p:tags r:id="rId4"/>
            </p:custDataLst>
          </p:nvPr>
        </p:nvSpPr>
        <p:spPr/>
        <p:txBody>
          <a:bodyPr/>
          <a:lstStyle/>
          <a:p>
            <a:endParaRPr lang="zh-CN" altLang="en-US"/>
          </a:p>
        </p:txBody>
      </p:sp>
      <p:sp>
        <p:nvSpPr>
          <p:cNvPr id="7" name="灯片编号占位符 6"/>
          <p:cNvSpPr>
            <a:spLocks noGrp="1"/>
          </p:cNvSpPr>
          <p:nvPr>
            <p:ph type="sldNum" sz="quarter" idx="12"/>
            <p:custDataLst>
              <p:tags r:id="rId5"/>
            </p:custDataLst>
          </p:nvPr>
        </p:nvSpPr>
        <p:spPr/>
        <p:txBody>
          <a:bodyPr>
            <a:normAutofit/>
          </a:bodyPr>
          <a:lstStyle/>
          <a:p>
            <a:fld id="{FABC47A4-756D-490B-A52F-7D9E2C9FC05F}" type="slidenum">
              <a:rPr lang="vi-VN" altLang="vi-VN" smtClean="0">
                <a:latin typeface="Noto Sans"/>
                <a:ea typeface="Noto Sans"/>
              </a:rPr>
              <a:t>‹#›</a:t>
            </a:fld>
            <a:endParaRPr lang="zh-CN" altLang="en-US"/>
          </a:p>
        </p:txBody>
      </p:sp>
      <p:sp>
        <p:nvSpPr>
          <p:cNvPr id="9" name="标题 8"/>
          <p:cNvSpPr>
            <a:spLocks noGrp="1"/>
          </p:cNvSpPr>
          <p:nvPr>
            <p:ph type="title"/>
            <p:custDataLst>
              <p:tags r:id="rId6"/>
            </p:custDataLst>
          </p:nvPr>
        </p:nvSpPr>
        <p:spPr/>
        <p:txBody>
          <a:bodyPr>
            <a:normAutofit/>
          </a:bodyPr>
          <a:lstStyle/>
          <a:p>
            <a:r>
              <a:rPr lang="vi-VN" altLang="vi-VN">
                <a:latin typeface="Noto Sans"/>
                <a:ea typeface="Noto Sans"/>
              </a:rPr>
              <a:t>Bấm vào đây để chỉnh sửa kiểu tiêu đề</a:t>
            </a: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1"/>
            </p:custDataLst>
          </p:nvPr>
        </p:nvSpPr>
        <p:spPr>
          <a:xfrm>
            <a:off x="10234800" y="914400"/>
            <a:ext cx="1044000" cy="5029200"/>
          </a:xfrm>
        </p:spPr>
        <p:txBody>
          <a:bodyPr vert="vert" lIns="90000" tIns="46800" rIns="90000" bIns="46800" rtlCol="0" anchor="ctr" anchorCtr="0">
            <a:normAutofit/>
          </a:bodyPr>
          <a:lstStyle>
            <a:lvl1pPr>
              <a:buNone/>
              <a:defRPr sz="2800"/>
            </a:lvl1pPr>
          </a:lstStyle>
          <a:p>
            <a:pPr lvl="0"/>
            <a:r>
              <a:rPr lang="vi-VN" altLang="vi-VN" sz="2700">
                <a:latin typeface="Noto Sans"/>
                <a:ea typeface="Noto Sans"/>
                <a:sym typeface="+mn-ea"/>
              </a:rPr>
              <a:t>Nhấn vào đây</a:t>
            </a:r>
          </a:p>
        </p:txBody>
      </p:sp>
      <p:sp>
        <p:nvSpPr>
          <p:cNvPr id="3" name="竖排文字占位符 2"/>
          <p:cNvSpPr>
            <a:spLocks noGrp="1"/>
          </p:cNvSpPr>
          <p:nvPr>
            <p:ph type="body" orient="vert" idx="1"/>
            <p:custDataLst>
              <p:tags r:id="rId2"/>
            </p:custDataLst>
          </p:nvPr>
        </p:nvSpPr>
        <p:spPr>
          <a:xfrm>
            <a:off x="914400" y="914400"/>
            <a:ext cx="9169200" cy="5029200"/>
          </a:xfrm>
        </p:spPr>
        <p:txBody>
          <a:bodyPr vert="vert" lIns="46800" tIns="46800" rIns="46800" bIns="46800">
            <a:normAutofit/>
          </a:bodyPr>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vi-VN" altLang="vi-VN">
                <a:latin typeface="Noto Sans"/>
                <a:ea typeface="Noto Sans"/>
              </a:rPr>
              <a:t>Bấm vào đây để chỉnh sửa kiểu</a:t>
            </a:r>
          </a:p>
          <a:p>
            <a:pPr lvl="1"/>
            <a:r>
              <a:rPr lang="vi-VN" altLang="vi-VN">
                <a:latin typeface="Noto Sans"/>
                <a:ea typeface="Noto Sans"/>
              </a:rPr>
              <a:t>Cấp độ thứ hai</a:t>
            </a:r>
          </a:p>
          <a:p>
            <a:pPr lvl="2"/>
            <a:r>
              <a:rPr lang="vi-VN" altLang="vi-VN">
                <a:latin typeface="Noto Sans"/>
                <a:ea typeface="Noto Sans"/>
              </a:rPr>
              <a:t>Cấp 3</a:t>
            </a:r>
          </a:p>
          <a:p>
            <a:pPr lvl="3"/>
            <a:r>
              <a:rPr lang="vi-VN" altLang="vi-VN">
                <a:latin typeface="Noto Sans"/>
                <a:ea typeface="Noto Sans"/>
              </a:rPr>
              <a:t>Cấp 4</a:t>
            </a:r>
          </a:p>
          <a:p>
            <a:pPr lvl="4"/>
            <a:r>
              <a:rPr lang="vi-VN" altLang="vi-VN">
                <a:latin typeface="Noto Sans"/>
                <a:ea typeface="Noto Sans"/>
              </a:rPr>
              <a:t>Cấp 5</a:t>
            </a:r>
          </a:p>
        </p:txBody>
      </p:sp>
      <p:sp>
        <p:nvSpPr>
          <p:cNvPr id="4" name="日期占位符 3"/>
          <p:cNvSpPr>
            <a:spLocks noGrp="1"/>
          </p:cNvSpPr>
          <p:nvPr>
            <p:ph type="dt" sz="half" idx="10"/>
            <p:custDataLst>
              <p:tags r:id="rId3"/>
            </p:custDataLst>
          </p:nvPr>
        </p:nvSpPr>
        <p:spPr/>
        <p:txBody>
          <a:bodyPr>
            <a:normAutofit/>
          </a:bodyPr>
          <a:lstStyle/>
          <a:p>
            <a:fld id="{760FBDFE-C587-4B4C-A407-44438C67B59E}" type="datetimeFigureOut">
              <a:rPr lang="vi-VN" altLang="vi-VN" sz="900" smtClean="0">
                <a:latin typeface="Noto Sans"/>
                <a:ea typeface="Noto Sans"/>
              </a:rPr>
              <a:t>07/07/2024</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normAutofit/>
          </a:bodyPr>
          <a:lstStyle/>
          <a:p>
            <a:fld id="{49AE70B2-8BF9-45C0-BB95-33D1B9D3A854}" type="slidenum">
              <a:rPr lang="vi-VN" altLang="vi-VN" smtClean="0">
                <a:latin typeface="Noto Sans"/>
                <a:ea typeface="Noto Sans"/>
              </a:r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0">
          <a:blip r:embed="rId22"/>
          <a:stretch>
            <a:fillRect t="-3000" b="-3000"/>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7"/>
            </p:custDataLst>
          </p:nvPr>
        </p:nvSpPr>
        <p:spPr>
          <a:xfrm>
            <a:off x="608400" y="608400"/>
            <a:ext cx="10969200" cy="705600"/>
          </a:xfrm>
          <a:prstGeom prst="rect">
            <a:avLst/>
          </a:prstGeom>
        </p:spPr>
        <p:txBody>
          <a:bodyPr vert="horz" lIns="90170" tIns="46990" rIns="90170" bIns="46990" rtlCol="0" anchor="t" anchorCtr="0">
            <a:normAutofit/>
          </a:bodyPr>
          <a:lstStyle/>
          <a:p>
            <a:r>
              <a:rPr lang="vi-VN" altLang="vi-VN">
                <a:latin typeface="Noto Sans"/>
                <a:ea typeface="Noto Sans"/>
              </a:rPr>
              <a:t>Bấm vào đây để chỉnh sửa kiểu tiêu đề</a:t>
            </a:r>
          </a:p>
        </p:txBody>
      </p:sp>
      <p:sp>
        <p:nvSpPr>
          <p:cNvPr id="3" name="文本占位符 2"/>
          <p:cNvSpPr>
            <a:spLocks noGrp="1"/>
          </p:cNvSpPr>
          <p:nvPr>
            <p:ph type="body" idx="1"/>
            <p:custDataLst>
              <p:tags r:id="rId18"/>
            </p:custDataLst>
          </p:nvPr>
        </p:nvSpPr>
        <p:spPr>
          <a:xfrm>
            <a:off x="608400" y="1490400"/>
            <a:ext cx="10969200" cy="4759200"/>
          </a:xfrm>
          <a:prstGeom prst="rect">
            <a:avLst/>
          </a:prstGeom>
        </p:spPr>
        <p:txBody>
          <a:bodyPr vert="horz" lIns="90000" tIns="46800" rIns="90000" bIns="46800" rtlCol="0">
            <a:normAutofit/>
          </a:bodyPr>
          <a:lstStyle/>
          <a:p>
            <a:pPr lvl="0"/>
            <a:r>
              <a:rPr lang="vi-VN" altLang="vi-VN">
                <a:latin typeface="Noto Sans"/>
                <a:ea typeface="Noto Sans"/>
              </a:rPr>
              <a:t>Bấm vào đây để chỉnh sửa kiểu văn bản chính</a:t>
            </a:r>
          </a:p>
          <a:p>
            <a:pPr lvl="1"/>
            <a:r>
              <a:rPr lang="vi-VN" altLang="vi-VN">
                <a:latin typeface="Noto Sans"/>
                <a:ea typeface="Noto Sans"/>
              </a:rPr>
              <a:t>Cấp độ thứ hai</a:t>
            </a:r>
          </a:p>
          <a:p>
            <a:pPr lvl="2"/>
            <a:r>
              <a:rPr lang="vi-VN" altLang="vi-VN">
                <a:latin typeface="Noto Sans"/>
                <a:ea typeface="Noto Sans"/>
              </a:rPr>
              <a:t>Cấp 3</a:t>
            </a:r>
          </a:p>
          <a:p>
            <a:pPr lvl="3"/>
            <a:r>
              <a:rPr lang="vi-VN" altLang="vi-VN">
                <a:latin typeface="Noto Sans"/>
                <a:ea typeface="Noto Sans"/>
              </a:rPr>
              <a:t>Cấp 4</a:t>
            </a:r>
          </a:p>
          <a:p>
            <a:pPr lvl="4"/>
            <a:r>
              <a:rPr lang="vi-VN" altLang="vi-VN">
                <a:latin typeface="Noto Sans"/>
                <a:ea typeface="Noto Sans"/>
              </a:rPr>
              <a:t>Cấp 5</a:t>
            </a:r>
          </a:p>
        </p:txBody>
      </p:sp>
      <p:sp>
        <p:nvSpPr>
          <p:cNvPr id="4" name="日期占位符 3"/>
          <p:cNvSpPr>
            <a:spLocks noGrp="1"/>
          </p:cNvSpPr>
          <p:nvPr>
            <p:ph type="dt" sz="half" idx="2"/>
            <p:custDataLst>
              <p:tags r:id="rId19"/>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vi-VN" altLang="vi-VN" sz="900" smtClean="0">
                <a:latin typeface="Noto Sans"/>
                <a:ea typeface="Noto Sans"/>
              </a:rPr>
              <a:t>07/07/2024</a:t>
            </a:fld>
            <a:endParaRPr lang="zh-CN" altLang="en-US"/>
          </a:p>
        </p:txBody>
      </p:sp>
      <p:sp>
        <p:nvSpPr>
          <p:cNvPr id="5" name="页脚占位符 4"/>
          <p:cNvSpPr>
            <a:spLocks noGrp="1"/>
          </p:cNvSpPr>
          <p:nvPr>
            <p:ph type="ftr" sz="quarter" idx="3"/>
            <p:custDataLst>
              <p:tags r:id="rId20"/>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a:p>
        </p:txBody>
      </p:sp>
      <p:sp>
        <p:nvSpPr>
          <p:cNvPr id="6" name="灯片编号占位符 5"/>
          <p:cNvSpPr>
            <a:spLocks noGrp="1"/>
          </p:cNvSpPr>
          <p:nvPr>
            <p:ph type="sldNum" sz="quarter" idx="4"/>
            <p:custDataLst>
              <p:tags r:id="rId21"/>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vi-VN" altLang="vi-VN" smtClean="0">
                <a:latin typeface="Noto Sans"/>
                <a:ea typeface="Noto Sans"/>
              </a:rPr>
              <a:t>‹#›</a:t>
            </a:fld>
            <a:endParaRPr lang="zh-CN" altLang="en-US"/>
          </a:p>
        </p:txBody>
      </p:sp>
    </p:spTree>
    <p:custDataLst>
      <p:tags r:id="rId16"/>
    </p:custData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p:titleStyle>
    <p:bodyStyle>
      <a:lvl1pPr marL="228600" indent="-228600" algn="l" defTabSz="914400" rtl="0" eaLnBrk="1" fontAlgn="auto" latinLnBrk="0" hangingPunct="1">
        <a:lnSpc>
          <a:spcPct val="130000"/>
        </a:lnSpc>
        <a:spcBef>
          <a:spcPct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1pPr>
      <a:lvl2pPr marL="685800" indent="-228600" algn="l" defTabSz="914400" rtl="0" eaLnBrk="1" fontAlgn="auto" latinLnBrk="0" hangingPunct="1">
        <a:lnSpc>
          <a:spcPct val="120000"/>
        </a:lnSpc>
        <a:spcBef>
          <a:spcPct val="0"/>
        </a:spcBef>
        <a:spcAft>
          <a:spcPts val="600"/>
        </a:spcAft>
        <a:buFont typeface="Arial" panose="020B0604020202020204" pitchFamily="34" charset="0"/>
        <a:buChar char="●"/>
        <a:tabLst>
          <a:tab pos="1609725" algn="l"/>
        </a:tabLst>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1143000" indent="-228600" algn="l" defTabSz="914400" rtl="0" eaLnBrk="1" fontAlgn="auto" latinLnBrk="0" hangingPunct="1">
        <a:lnSpc>
          <a:spcPct val="120000"/>
        </a:lnSpc>
        <a:spcBef>
          <a:spcPct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1600200" indent="-228600" algn="l" defTabSz="914400" rtl="0" eaLnBrk="1" fontAlgn="auto" latinLnBrk="0" hangingPunct="1">
        <a:lnSpc>
          <a:spcPct val="120000"/>
        </a:lnSpc>
        <a:spcBef>
          <a:spcPct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2057400" indent="-228600" algn="l" defTabSz="914400" rtl="0" eaLnBrk="1" fontAlgn="auto" latinLnBrk="0" hangingPunct="1">
        <a:lnSpc>
          <a:spcPct val="120000"/>
        </a:lnSpc>
        <a:spcBef>
          <a:spcPct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audio" Target="../media/media1.mp3"/><Relationship Id="rId7" Type="http://schemas.openxmlformats.org/officeDocument/2006/relationships/image" Target="../media/image4.png"/><Relationship Id="rId2" Type="http://schemas.microsoft.com/office/2007/relationships/media" Target="../media/media1.mp3"/><Relationship Id="rId1" Type="http://schemas.openxmlformats.org/officeDocument/2006/relationships/tags" Target="../tags/tag64.xml"/><Relationship Id="rId6" Type="http://schemas.openxmlformats.org/officeDocument/2006/relationships/image" Target="../media/image3.pn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69.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70.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7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7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7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74.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75.xml"/><Relationship Id="rId4" Type="http://schemas.openxmlformats.org/officeDocument/2006/relationships/image" Target="../media/image10.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76.xml"/><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6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77.xml"/><Relationship Id="rId4"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81.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82.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7.xml"/><Relationship Id="rId1" Type="http://schemas.openxmlformats.org/officeDocument/2006/relationships/tags" Target="../tags/tag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tags" Target="../tags/tag96.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tags" Target="../tags/tag95.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tags" Target="../tags/tag94.xml"/><Relationship Id="rId5" Type="http://schemas.openxmlformats.org/officeDocument/2006/relationships/tags" Target="../tags/tag88.xml"/><Relationship Id="rId15" Type="http://schemas.openxmlformats.org/officeDocument/2006/relationships/image" Target="../media/image13.png"/><Relationship Id="rId10" Type="http://schemas.openxmlformats.org/officeDocument/2006/relationships/tags" Target="../tags/tag93.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9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6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67.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68.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椭圆 11"/>
          <p:cNvSpPr/>
          <p:nvPr/>
        </p:nvSpPr>
        <p:spPr>
          <a:xfrm>
            <a:off x="3243737" y="569502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4" name="椭圆 13"/>
          <p:cNvSpPr/>
          <p:nvPr/>
        </p:nvSpPr>
        <p:spPr>
          <a:xfrm>
            <a:off x="566544" y="180845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7" name="椭圆 16"/>
          <p:cNvSpPr/>
          <p:nvPr/>
        </p:nvSpPr>
        <p:spPr>
          <a:xfrm>
            <a:off x="10099832" y="4661880"/>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8" name="椭圆 17"/>
          <p:cNvSpPr/>
          <p:nvPr/>
        </p:nvSpPr>
        <p:spPr>
          <a:xfrm>
            <a:off x="8865359" y="43050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pic>
        <p:nvPicPr>
          <p:cNvPr id="2" name="微笑阳光">
            <a:hlinkClick r:id="" action="ppaction://media"/>
            <a:extLst>
              <a:ext uri="{FF2B5EF4-FFF2-40B4-BE49-F238E27FC236}">
                <a16:creationId xmlns:a16="http://schemas.microsoft.com/office/drawing/2014/main" id="{D9DF89A6-EEBF-4194-B588-506CACD1FA6F}"/>
              </a:ext>
            </a:extLst>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792480" y="3275242"/>
            <a:ext cx="406400" cy="406400"/>
          </a:xfrm>
          <a:prstGeom prst="rect">
            <a:avLst/>
          </a:prstGeom>
        </p:spPr>
      </p:pic>
      <p:pic>
        <p:nvPicPr>
          <p:cNvPr id="5" name="Picture 4">
            <a:extLst>
              <a:ext uri="{FF2B5EF4-FFF2-40B4-BE49-F238E27FC236}">
                <a16:creationId xmlns:a16="http://schemas.microsoft.com/office/drawing/2014/main" id="{2D38C80A-34C3-475B-D6C7-ED42922BBEA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41725"/>
            <a:ext cx="1500809" cy="1891343"/>
          </a:xfrm>
          <a:prstGeom prst="rect">
            <a:avLst/>
          </a:prstGeom>
        </p:spPr>
      </p:pic>
      <p:pic>
        <p:nvPicPr>
          <p:cNvPr id="11" name="Picture 10">
            <a:extLst>
              <a:ext uri="{FF2B5EF4-FFF2-40B4-BE49-F238E27FC236}">
                <a16:creationId xmlns:a16="http://schemas.microsoft.com/office/drawing/2014/main" id="{76B404E8-B6A1-7164-ACAD-8385581AF64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28370" y="0"/>
            <a:ext cx="1767685" cy="1673893"/>
          </a:xfrm>
          <a:prstGeom prst="rect">
            <a:avLst/>
          </a:prstGeom>
        </p:spPr>
      </p:pic>
      <p:sp>
        <p:nvSpPr>
          <p:cNvPr id="13" name="TextBox 12">
            <a:extLst>
              <a:ext uri="{FF2B5EF4-FFF2-40B4-BE49-F238E27FC236}">
                <a16:creationId xmlns:a16="http://schemas.microsoft.com/office/drawing/2014/main" id="{44BE6C45-1F13-CE66-844D-8B5472B6D7C5}"/>
              </a:ext>
            </a:extLst>
          </p:cNvPr>
          <p:cNvSpPr txBox="1"/>
          <p:nvPr/>
        </p:nvSpPr>
        <p:spPr>
          <a:xfrm>
            <a:off x="3073630" y="33093"/>
            <a:ext cx="5338762" cy="1754326"/>
          </a:xfrm>
          <a:prstGeom prst="rect">
            <a:avLst/>
          </a:prstGeom>
          <a:noFill/>
        </p:spPr>
        <p:txBody>
          <a:bodyPr wrap="square" rtlCol="0">
            <a:spAutoFit/>
          </a:bodyPr>
          <a:lstStyle/>
          <a:p>
            <a:pPr algn="ctr" defTabSz="685800" eaLnBrk="1" fontAlgn="auto" hangingPunct="1">
              <a:lnSpc>
                <a:spcPct val="150000"/>
              </a:lnSpc>
              <a:spcBef>
                <a:spcPts val="0"/>
              </a:spcBef>
              <a:spcAft>
                <a:spcPts val="0"/>
              </a:spcAft>
            </a:pPr>
            <a:r>
              <a:rPr lang="en-US" b="1">
                <a:solidFill>
                  <a:schemeClr val="bg1"/>
                </a:solidFill>
                <a:latin typeface="Times New Roman" panose="02020603050405020304" pitchFamily="18" charset="0"/>
                <a:cs typeface="Times New Roman" panose="02020603050405020304" pitchFamily="18" charset="0"/>
              </a:rPr>
              <a:t>BỘ CÔNG THƯƠNG</a:t>
            </a:r>
          </a:p>
          <a:p>
            <a:pPr algn="ctr" defTabSz="685800" eaLnBrk="1" fontAlgn="auto" hangingPunct="1">
              <a:lnSpc>
                <a:spcPct val="150000"/>
              </a:lnSpc>
              <a:spcBef>
                <a:spcPts val="0"/>
              </a:spcBef>
              <a:spcAft>
                <a:spcPts val="0"/>
              </a:spcAft>
            </a:pPr>
            <a:r>
              <a:rPr lang="en-US" b="1">
                <a:solidFill>
                  <a:schemeClr val="bg1"/>
                </a:solidFill>
                <a:latin typeface="Times New Roman" panose="02020603050405020304" pitchFamily="18" charset="0"/>
                <a:cs typeface="Times New Roman" panose="02020603050405020304" pitchFamily="18" charset="0"/>
              </a:rPr>
              <a:t>TRƯỜNG CAO ĐẲNG KỸ THUẬT CAO THẮNG</a:t>
            </a:r>
          </a:p>
          <a:p>
            <a:pPr algn="ctr" defTabSz="685800" eaLnBrk="1" fontAlgn="auto" hangingPunct="1">
              <a:lnSpc>
                <a:spcPct val="150000"/>
              </a:lnSpc>
              <a:spcBef>
                <a:spcPts val="0"/>
              </a:spcBef>
              <a:spcAft>
                <a:spcPts val="0"/>
              </a:spcAft>
            </a:pPr>
            <a:r>
              <a:rPr lang="en-US" b="1">
                <a:solidFill>
                  <a:schemeClr val="bg1"/>
                </a:solidFill>
                <a:latin typeface="Times New Roman" panose="02020603050405020304" pitchFamily="18" charset="0"/>
                <a:cs typeface="Times New Roman" panose="02020603050405020304" pitchFamily="18" charset="0"/>
              </a:rPr>
              <a:t>KHOA CÔNG NGHỆ THÔNG TIN</a:t>
            </a:r>
          </a:p>
          <a:p>
            <a:pPr algn="ctr" defTabSz="685800">
              <a:lnSpc>
                <a:spcPct val="150000"/>
              </a:lnSpc>
            </a:pPr>
            <a:r>
              <a:rPr lang="en-US" b="1">
                <a:solidFill>
                  <a:schemeClr val="bg1"/>
                </a:solidFill>
                <a:latin typeface="Times New Roman" panose="02020603050405020304" pitchFamily="18" charset="0"/>
                <a:cs typeface="Times New Roman" panose="02020603050405020304" pitchFamily="18" charset="0"/>
                <a:sym typeface="Wingdings" panose="05000000000000000000" pitchFamily="2" charset="2"/>
              </a:rPr>
              <a:t></a:t>
            </a:r>
            <a:endParaRPr lang="en-US" b="1">
              <a:solidFill>
                <a:schemeClr val="bg1"/>
              </a:solidFill>
              <a:latin typeface="Times New Roman" panose="02020603050405020304" pitchFamily="18" charset="0"/>
              <a:cs typeface="Times New Roman" panose="02020603050405020304" pitchFamily="18" charset="0"/>
            </a:endParaRPr>
          </a:p>
        </p:txBody>
      </p:sp>
      <p:sp>
        <p:nvSpPr>
          <p:cNvPr id="15" name="Rectangle 4">
            <a:extLst>
              <a:ext uri="{FF2B5EF4-FFF2-40B4-BE49-F238E27FC236}">
                <a16:creationId xmlns:a16="http://schemas.microsoft.com/office/drawing/2014/main" id="{00FC2B40-A32C-D923-34B7-5A8573B2B3FC}"/>
              </a:ext>
            </a:extLst>
          </p:cNvPr>
          <p:cNvSpPr txBox="1">
            <a:spLocks noChangeArrowheads="1"/>
          </p:cNvSpPr>
          <p:nvPr/>
        </p:nvSpPr>
        <p:spPr bwMode="gray">
          <a:xfrm>
            <a:off x="2047311" y="1785530"/>
            <a:ext cx="73914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Font typeface="Wingdings" panose="05000000000000000000" pitchFamily="2" charset="2"/>
              <a:buChar char="§"/>
              <a:defRPr sz="2800">
                <a:solidFill>
                  <a:schemeClr val="tx1"/>
                </a:solidFill>
                <a:latin typeface="Arial" panose="020B0604020202020204" pitchFamily="34" charset="0"/>
              </a:defRPr>
            </a:lvl1pPr>
            <a:lvl2pPr marL="742950" indent="-285750">
              <a:spcBef>
                <a:spcPct val="20000"/>
              </a:spcBef>
              <a:buClr>
                <a:schemeClr val="accent1"/>
              </a:buClr>
              <a:buFont typeface="Wingdings" panose="05000000000000000000" pitchFamily="2" charset="2"/>
              <a:buChar char="§"/>
              <a:defRPr sz="2400">
                <a:solidFill>
                  <a:schemeClr val="tx1"/>
                </a:solidFill>
                <a:latin typeface="Arial" panose="020B0604020202020204" pitchFamily="34" charset="0"/>
              </a:defRPr>
            </a:lvl2pPr>
            <a:lvl3pPr marL="1143000" indent="-228600">
              <a:spcBef>
                <a:spcPct val="20000"/>
              </a:spcBef>
              <a:buClr>
                <a:schemeClr val="tx1"/>
              </a:buClr>
              <a:buChar char="•"/>
              <a:defRPr sz="2000">
                <a:solidFill>
                  <a:schemeClr val="tx1"/>
                </a:solidFill>
                <a:latin typeface="Arial" panose="020B0604020202020204" pitchFamily="34" charset="0"/>
              </a:defRPr>
            </a:lvl3pPr>
            <a:lvl4pPr marL="1600200" indent="-228600">
              <a:spcBef>
                <a:spcPct val="20000"/>
              </a:spcBef>
              <a:buChar char="–"/>
              <a:defRPr>
                <a:solidFill>
                  <a:schemeClr val="tx1"/>
                </a:solidFill>
                <a:latin typeface="Arial" panose="020B0604020202020204" pitchFamily="34" charset="0"/>
              </a:defRPr>
            </a:lvl4pPr>
            <a:lvl5pPr marL="2057400" indent="-22860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ct val="0"/>
              </a:spcBef>
              <a:buClrTx/>
              <a:buFontTx/>
              <a:buNone/>
              <a:tabLst>
                <a:tab pos="3827463" algn="l"/>
              </a:tabLst>
            </a:pPr>
            <a:r>
              <a:rPr lang="en-GB" altLang="vi-VN" sz="3200" b="1">
                <a:solidFill>
                  <a:schemeClr val="bg1"/>
                </a:solidFill>
                <a:latin typeface="Times New Roman" panose="02020603050405020304" pitchFamily="18" charset="0"/>
                <a:cs typeface="Times New Roman" panose="02020603050405020304" pitchFamily="18" charset="0"/>
              </a:rPr>
              <a:t>ĐỒ ÁN TỐT NGHIỆP</a:t>
            </a:r>
            <a:endParaRPr lang="en-US" altLang="en-US" sz="3200" b="1">
              <a:solidFill>
                <a:schemeClr val="bg1"/>
              </a:solidFill>
            </a:endParaRPr>
          </a:p>
        </p:txBody>
      </p:sp>
      <p:sp>
        <p:nvSpPr>
          <p:cNvPr id="19" name="TextBox 18">
            <a:extLst>
              <a:ext uri="{FF2B5EF4-FFF2-40B4-BE49-F238E27FC236}">
                <a16:creationId xmlns:a16="http://schemas.microsoft.com/office/drawing/2014/main" id="{6975C13C-6313-CBE7-8858-53DB53DEC21B}"/>
              </a:ext>
            </a:extLst>
          </p:cNvPr>
          <p:cNvSpPr txBox="1"/>
          <p:nvPr/>
        </p:nvSpPr>
        <p:spPr>
          <a:xfrm>
            <a:off x="1223620" y="2547530"/>
            <a:ext cx="9066709" cy="1432636"/>
          </a:xfrm>
          <a:prstGeom prst="rect">
            <a:avLst/>
          </a:prstGeom>
          <a:noFill/>
        </p:spPr>
        <p:txBody>
          <a:bodyPr wrap="square">
            <a:spAutoFit/>
          </a:bodyPr>
          <a:lstStyle/>
          <a:p>
            <a:pPr eaLnBrk="1" hangingPunct="1">
              <a:spcBef>
                <a:spcPct val="0"/>
              </a:spcBef>
              <a:buClrTx/>
              <a:buFontTx/>
              <a:buNone/>
            </a:pPr>
            <a:r>
              <a:rPr lang="en-GB" altLang="vi-VN" sz="2400" b="1">
                <a:solidFill>
                  <a:schemeClr val="bg1"/>
                </a:solidFill>
                <a:latin typeface="Times New Roman" panose="02020603050405020304" pitchFamily="18" charset="0"/>
                <a:cs typeface="Times New Roman" panose="02020603050405020304" pitchFamily="18" charset="0"/>
              </a:rPr>
              <a:t>ĐỀ TÀI:</a:t>
            </a:r>
          </a:p>
          <a:p>
            <a:pPr algn="ctr">
              <a:lnSpc>
                <a:spcPct val="150000"/>
              </a:lnSpc>
              <a:spcBef>
                <a:spcPts val="600"/>
              </a:spcBef>
              <a:spcAft>
                <a:spcPts val="600"/>
              </a:spcAft>
              <a:buClrTx/>
              <a:buFontTx/>
              <a:buNone/>
            </a:pPr>
            <a:r>
              <a:rPr lang="en-US" altLang="vi-VN" sz="4400" b="1">
                <a:solidFill>
                  <a:schemeClr val="bg1"/>
                </a:solidFill>
                <a:latin typeface="Times New Roman" panose="02020603050405020304" pitchFamily="18" charset="0"/>
                <a:cs typeface="Calibri" panose="020F0502020204030204" pitchFamily="34" charset="0"/>
              </a:rPr>
              <a:t>WEBSITE BÁN LAPTOP</a:t>
            </a:r>
            <a:endParaRPr lang="vi-VN" altLang="vi-VN" sz="4400" b="1">
              <a:solidFill>
                <a:schemeClr val="bg1"/>
              </a:solidFill>
              <a:latin typeface="Times New Roman" panose="02020603050405020304" pitchFamily="18" charset="0"/>
              <a:cs typeface="Calibri" panose="020F0502020204030204" pitchFamily="34" charset="0"/>
            </a:endParaRPr>
          </a:p>
        </p:txBody>
      </p:sp>
      <p:sp>
        <p:nvSpPr>
          <p:cNvPr id="22" name="Rectangle 4">
            <a:extLst>
              <a:ext uri="{FF2B5EF4-FFF2-40B4-BE49-F238E27FC236}">
                <a16:creationId xmlns:a16="http://schemas.microsoft.com/office/drawing/2014/main" id="{232396BA-EB75-A209-F947-5276FB2ECF39}"/>
              </a:ext>
            </a:extLst>
          </p:cNvPr>
          <p:cNvSpPr>
            <a:spLocks noGrp="1" noChangeArrowheads="1"/>
          </p:cNvSpPr>
          <p:nvPr>
            <p:ph type="ctrTitle"/>
          </p:nvPr>
        </p:nvSpPr>
        <p:spPr>
          <a:xfrm>
            <a:off x="162505" y="4433640"/>
            <a:ext cx="6735252" cy="1006475"/>
          </a:xfrm>
        </p:spPr>
        <p:txBody>
          <a:bodyPr>
            <a:normAutofit fontScale="90000"/>
          </a:bodyPr>
          <a:lstStyle/>
          <a:p>
            <a:pPr algn="l">
              <a:lnSpc>
                <a:spcPct val="150000"/>
              </a:lnSpc>
              <a:tabLst>
                <a:tab pos="403225" algn="l"/>
              </a:tabLst>
              <a:defRPr/>
            </a:pPr>
            <a:r>
              <a:rPr lang="en-US" sz="2200" kern="0">
                <a:solidFill>
                  <a:schemeClr val="bg1"/>
                </a:solidFill>
                <a:latin typeface="Times New Roman" panose="02020603050405020304" pitchFamily="18" charset="0"/>
                <a:cs typeface="Times New Roman" panose="02020603050405020304" pitchFamily="18" charset="0"/>
              </a:rPr>
              <a:t>GIÁO VIÊN HƯỚNG DẪN:</a:t>
            </a:r>
            <a:br>
              <a:rPr lang="en-GB" sz="2200" kern="0">
                <a:solidFill>
                  <a:schemeClr val="bg1"/>
                </a:solidFill>
                <a:latin typeface="Times New Roman" panose="02020603050405020304" pitchFamily="18" charset="0"/>
                <a:cs typeface="Times New Roman" panose="02020603050405020304" pitchFamily="18" charset="0"/>
              </a:rPr>
            </a:br>
            <a:r>
              <a:rPr lang="en-GB" sz="2200" kern="0">
                <a:solidFill>
                  <a:schemeClr val="bg1"/>
                </a:solidFill>
                <a:latin typeface="Times New Roman" panose="02020603050405020304" pitchFamily="18" charset="0"/>
                <a:cs typeface="Times New Roman" panose="02020603050405020304" pitchFamily="18" charset="0"/>
              </a:rPr>
              <a:t>	TH.S NGUYỄN TÂM THANH TÙNG</a:t>
            </a:r>
            <a:br>
              <a:rPr lang="en-US" altLang="en-US" sz="800"/>
            </a:br>
            <a:br>
              <a:rPr lang="en-GB" sz="1700" kern="0">
                <a:solidFill>
                  <a:schemeClr val="bg1"/>
                </a:solidFill>
                <a:latin typeface="Times New Roman" panose="02020603050405020304" pitchFamily="18" charset="0"/>
                <a:cs typeface="Times New Roman" panose="02020603050405020304" pitchFamily="18" charset="0"/>
              </a:rPr>
            </a:br>
            <a:endParaRPr lang="en-US" altLang="en-US" sz="1700">
              <a:solidFill>
                <a:schemeClr val="bg1"/>
              </a:solidFill>
            </a:endParaRPr>
          </a:p>
        </p:txBody>
      </p:sp>
      <p:sp>
        <p:nvSpPr>
          <p:cNvPr id="24" name="TextBox 23">
            <a:extLst>
              <a:ext uri="{FF2B5EF4-FFF2-40B4-BE49-F238E27FC236}">
                <a16:creationId xmlns:a16="http://schemas.microsoft.com/office/drawing/2014/main" id="{5788F242-E46C-F6AF-9F2B-471B6C54959C}"/>
              </a:ext>
            </a:extLst>
          </p:cNvPr>
          <p:cNvSpPr txBox="1"/>
          <p:nvPr/>
        </p:nvSpPr>
        <p:spPr>
          <a:xfrm>
            <a:off x="6921523" y="4413046"/>
            <a:ext cx="5416826" cy="1422762"/>
          </a:xfrm>
          <a:prstGeom prst="rect">
            <a:avLst/>
          </a:prstGeom>
          <a:noFill/>
        </p:spPr>
        <p:txBody>
          <a:bodyPr wrap="square" rtlCol="0">
            <a:spAutoFit/>
          </a:bodyPr>
          <a:lstStyle/>
          <a:p>
            <a:pPr>
              <a:lnSpc>
                <a:spcPct val="150000"/>
              </a:lnSpc>
              <a:tabLst>
                <a:tab pos="517525" algn="l"/>
              </a:tabLst>
            </a:pPr>
            <a:r>
              <a:rPr lang="en-GB" sz="2000" b="1" kern="0">
                <a:solidFill>
                  <a:schemeClr val="bg1"/>
                </a:solidFill>
                <a:latin typeface="Times New Roman" panose="02020603050405020304" pitchFamily="18" charset="0"/>
                <a:cs typeface="Times New Roman" panose="02020603050405020304" pitchFamily="18" charset="0"/>
              </a:rPr>
              <a:t>SINH VIÊN THỰC HIỆN:</a:t>
            </a:r>
            <a:br>
              <a:rPr lang="en-GB" sz="2000" b="1" kern="0">
                <a:solidFill>
                  <a:schemeClr val="bg1"/>
                </a:solidFill>
                <a:latin typeface="Times New Roman" panose="02020603050405020304" pitchFamily="18" charset="0"/>
                <a:cs typeface="Times New Roman" panose="02020603050405020304" pitchFamily="18" charset="0"/>
              </a:rPr>
            </a:br>
            <a:r>
              <a:rPr lang="en-GB" sz="2000" b="1" kern="0">
                <a:solidFill>
                  <a:schemeClr val="bg1"/>
                </a:solidFill>
                <a:latin typeface="Times New Roman" panose="02020603050405020304" pitchFamily="18" charset="0"/>
                <a:cs typeface="Times New Roman" panose="02020603050405020304" pitchFamily="18" charset="0"/>
              </a:rPr>
              <a:t>	VÕ HOÀI LINH - 0306201252</a:t>
            </a:r>
            <a:br>
              <a:rPr lang="en-GB" sz="2000" b="1" kern="0">
                <a:solidFill>
                  <a:schemeClr val="bg1"/>
                </a:solidFill>
                <a:latin typeface="Times New Roman" panose="02020603050405020304" pitchFamily="18" charset="0"/>
                <a:cs typeface="Times New Roman" panose="02020603050405020304" pitchFamily="18" charset="0"/>
              </a:rPr>
            </a:br>
            <a:r>
              <a:rPr lang="en-GB" sz="2000" b="1" kern="0">
                <a:solidFill>
                  <a:schemeClr val="bg1"/>
                </a:solidFill>
                <a:latin typeface="Times New Roman" panose="02020603050405020304" pitchFamily="18" charset="0"/>
                <a:cs typeface="Times New Roman" panose="02020603050405020304" pitchFamily="18" charset="0"/>
              </a:rPr>
              <a:t>	KIỀU TUẤN ANH - 0306201208</a:t>
            </a:r>
            <a:endParaRPr lang="en-US" sz="2000" b="1"/>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 repeatCount="indefinite" fill="remove" display="0">
                  <p:stCondLst>
                    <p:cond delay="indefinite"/>
                  </p:stCondLst>
                  <p:endCondLst>
                    <p:cond evt="onPrev" delay="0">
                      <p:tgtEl>
                        <p:sldTgt/>
                      </p:tgtEl>
                    </p:cond>
                    <p:cond evt="onStopAudio" delay="0">
                      <p:tgtEl>
                        <p:sldTgt/>
                      </p:tgtEl>
                    </p:cond>
                  </p:endCondLst>
                </p:cTn>
                <p:tgtEl>
                  <p:spTgt spid="2"/>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3367709" y="546735"/>
            <a:ext cx="5456582" cy="575422"/>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CÔNG NGHỆ THIẾT KẾ WEBSITE</a:t>
            </a:r>
            <a:endParaRPr lang="vi-VN" altLang="vi-VN" sz="2600" b="1">
              <a:solidFill>
                <a:srgbClr val="004195"/>
              </a:solidFill>
              <a:latin typeface="Noto Sans"/>
              <a:ea typeface="Noto Sans"/>
              <a:cs typeface="+mn-ea"/>
              <a:sym typeface="Source Han Serif SC" panose="02020700000000000000" pitchFamily="18" charset="-122"/>
            </a:endParaRPr>
          </a:p>
        </p:txBody>
      </p:sp>
      <p:sp>
        <p:nvSpPr>
          <p:cNvPr id="2" name="Freeform 28">
            <a:extLst>
              <a:ext uri="{FF2B5EF4-FFF2-40B4-BE49-F238E27FC236}">
                <a16:creationId xmlns:a16="http://schemas.microsoft.com/office/drawing/2014/main" id="{464C27DC-4598-52A1-BD9A-2F89AD391419}"/>
              </a:ext>
            </a:extLst>
          </p:cNvPr>
          <p:cNvSpPr/>
          <p:nvPr/>
        </p:nvSpPr>
        <p:spPr>
          <a:xfrm>
            <a:off x="365125" y="1609725"/>
            <a:ext cx="2050084" cy="1587500"/>
          </a:xfrm>
          <a:custGeom>
            <a:avLst/>
            <a:gdLst>
              <a:gd name="connsiteX0" fmla="*/ 0 w 1835025"/>
              <a:gd name="connsiteY0" fmla="*/ 793756 h 1587512"/>
              <a:gd name="connsiteX1" fmla="*/ 453552 w 1835025"/>
              <a:gd name="connsiteY1" fmla="*/ 0 h 1587512"/>
              <a:gd name="connsiteX2" fmla="*/ 1381473 w 1835025"/>
              <a:gd name="connsiteY2" fmla="*/ 0 h 1587512"/>
              <a:gd name="connsiteX3" fmla="*/ 1835025 w 1835025"/>
              <a:gd name="connsiteY3" fmla="*/ 793756 h 1587512"/>
              <a:gd name="connsiteX4" fmla="*/ 1381473 w 1835025"/>
              <a:gd name="connsiteY4" fmla="*/ 1587512 h 1587512"/>
              <a:gd name="connsiteX5" fmla="*/ 453552 w 1835025"/>
              <a:gd name="connsiteY5" fmla="*/ 1587512 h 1587512"/>
              <a:gd name="connsiteX6" fmla="*/ 0 w 1835025"/>
              <a:gd name="connsiteY6" fmla="*/ 793756 h 1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025" h="1587512">
                <a:moveTo>
                  <a:pt x="0" y="793756"/>
                </a:moveTo>
                <a:lnTo>
                  <a:pt x="453552" y="0"/>
                </a:lnTo>
                <a:lnTo>
                  <a:pt x="1381473" y="0"/>
                </a:lnTo>
                <a:lnTo>
                  <a:pt x="1835025" y="793756"/>
                </a:lnTo>
                <a:lnTo>
                  <a:pt x="1381473" y="1587512"/>
                </a:lnTo>
                <a:lnTo>
                  <a:pt x="453552" y="1587512"/>
                </a:lnTo>
                <a:lnTo>
                  <a:pt x="0" y="793756"/>
                </a:lnTo>
                <a:close/>
              </a:path>
            </a:pathLst>
          </a:custGeom>
          <a:solidFill>
            <a:srgbClr val="00B0F0"/>
          </a:solidFill>
          <a:ln w="19050">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lIns="353633" tIns="312615" rIns="353633" bIns="312615" spcCol="1270" anchor="ctr"/>
          <a:lstStyle/>
          <a:p>
            <a:pPr algn="ctr" defTabSz="1733550">
              <a:lnSpc>
                <a:spcPct val="90000"/>
              </a:lnSpc>
              <a:spcAft>
                <a:spcPct val="35000"/>
              </a:spcAft>
              <a:defRPr/>
            </a:pPr>
            <a:r>
              <a:rPr lang="vi-VN" sz="2000" b="1">
                <a:latin typeface="Calibri" panose="020F0502020204030204" pitchFamily="34" charset="0"/>
                <a:cs typeface="Calibri" panose="020F0502020204030204" pitchFamily="34" charset="0"/>
              </a:rPr>
              <a:t>HTML</a:t>
            </a:r>
          </a:p>
          <a:p>
            <a:pPr algn="ctr" defTabSz="1733550">
              <a:lnSpc>
                <a:spcPct val="90000"/>
              </a:lnSpc>
              <a:spcAft>
                <a:spcPct val="35000"/>
              </a:spcAft>
              <a:defRPr/>
            </a:pPr>
            <a:r>
              <a:rPr lang="vi-VN" sz="2000" b="1">
                <a:latin typeface="Calibri" panose="020F0502020204030204" pitchFamily="34" charset="0"/>
                <a:cs typeface="Calibri" panose="020F0502020204030204" pitchFamily="34" charset="0"/>
              </a:rPr>
              <a:t>CSS</a:t>
            </a:r>
          </a:p>
          <a:p>
            <a:pPr algn="ctr" defTabSz="1733550">
              <a:lnSpc>
                <a:spcPct val="90000"/>
              </a:lnSpc>
              <a:spcAft>
                <a:spcPct val="35000"/>
              </a:spcAft>
              <a:defRPr/>
            </a:pPr>
            <a:r>
              <a:rPr lang="en-GB" sz="2000" b="1">
                <a:latin typeface="Calibri" panose="020F0502020204030204" pitchFamily="34" charset="0"/>
                <a:cs typeface="Calibri" panose="020F0502020204030204" pitchFamily="34" charset="0"/>
              </a:rPr>
              <a:t>JavaScript</a:t>
            </a:r>
          </a:p>
        </p:txBody>
      </p:sp>
      <p:sp>
        <p:nvSpPr>
          <p:cNvPr id="3" name="Freeform 30">
            <a:extLst>
              <a:ext uri="{FF2B5EF4-FFF2-40B4-BE49-F238E27FC236}">
                <a16:creationId xmlns:a16="http://schemas.microsoft.com/office/drawing/2014/main" id="{0B1F17F3-603C-A5E4-D848-77145C745C8D}"/>
              </a:ext>
            </a:extLst>
          </p:cNvPr>
          <p:cNvSpPr/>
          <p:nvPr/>
        </p:nvSpPr>
        <p:spPr>
          <a:xfrm>
            <a:off x="2509837" y="1609725"/>
            <a:ext cx="1969121" cy="1587500"/>
          </a:xfrm>
          <a:custGeom>
            <a:avLst/>
            <a:gdLst>
              <a:gd name="connsiteX0" fmla="*/ 0 w 1835025"/>
              <a:gd name="connsiteY0" fmla="*/ 793756 h 1587512"/>
              <a:gd name="connsiteX1" fmla="*/ 453552 w 1835025"/>
              <a:gd name="connsiteY1" fmla="*/ 0 h 1587512"/>
              <a:gd name="connsiteX2" fmla="*/ 1381473 w 1835025"/>
              <a:gd name="connsiteY2" fmla="*/ 0 h 1587512"/>
              <a:gd name="connsiteX3" fmla="*/ 1835025 w 1835025"/>
              <a:gd name="connsiteY3" fmla="*/ 793756 h 1587512"/>
              <a:gd name="connsiteX4" fmla="*/ 1381473 w 1835025"/>
              <a:gd name="connsiteY4" fmla="*/ 1587512 h 1587512"/>
              <a:gd name="connsiteX5" fmla="*/ 453552 w 1835025"/>
              <a:gd name="connsiteY5" fmla="*/ 1587512 h 1587512"/>
              <a:gd name="connsiteX6" fmla="*/ 0 w 1835025"/>
              <a:gd name="connsiteY6" fmla="*/ 793756 h 1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025" h="1587512">
                <a:moveTo>
                  <a:pt x="0" y="793756"/>
                </a:moveTo>
                <a:lnTo>
                  <a:pt x="453552" y="0"/>
                </a:lnTo>
                <a:lnTo>
                  <a:pt x="1381473" y="0"/>
                </a:lnTo>
                <a:lnTo>
                  <a:pt x="1835025" y="793756"/>
                </a:lnTo>
                <a:lnTo>
                  <a:pt x="1381473" y="1587512"/>
                </a:lnTo>
                <a:lnTo>
                  <a:pt x="453552" y="1587512"/>
                </a:lnTo>
                <a:lnTo>
                  <a:pt x="0" y="793756"/>
                </a:lnTo>
                <a:close/>
              </a:path>
            </a:pathLst>
          </a:custGeom>
          <a:solidFill>
            <a:srgbClr val="0070C0"/>
          </a:solidFill>
        </p:spPr>
        <p:style>
          <a:lnRef idx="3">
            <a:schemeClr val="lt1"/>
          </a:lnRef>
          <a:fillRef idx="1">
            <a:schemeClr val="accent1"/>
          </a:fillRef>
          <a:effectRef idx="1">
            <a:schemeClr val="accent1"/>
          </a:effectRef>
          <a:fontRef idx="minor">
            <a:schemeClr val="lt1"/>
          </a:fontRef>
        </p:style>
        <p:txBody>
          <a:bodyPr lIns="353633" tIns="312615" rIns="353633" bIns="312615" spcCol="1270" anchor="ctr"/>
          <a:lstStyle/>
          <a:p>
            <a:pPr algn="ctr" defTabSz="1733550">
              <a:lnSpc>
                <a:spcPct val="90000"/>
              </a:lnSpc>
              <a:spcAft>
                <a:spcPct val="35000"/>
              </a:spcAft>
              <a:defRPr/>
            </a:pPr>
            <a:r>
              <a:rPr lang="vi-VN" sz="2400" b="1">
                <a:latin typeface="Calibri" panose="020F0502020204030204" pitchFamily="34" charset="0"/>
                <a:cs typeface="Calibri" panose="020F0502020204030204" pitchFamily="34" charset="0"/>
              </a:rPr>
              <a:t>PHP</a:t>
            </a:r>
          </a:p>
          <a:p>
            <a:pPr algn="ctr" defTabSz="1733550">
              <a:lnSpc>
                <a:spcPct val="90000"/>
              </a:lnSpc>
              <a:spcAft>
                <a:spcPct val="35000"/>
              </a:spcAft>
              <a:defRPr/>
            </a:pPr>
            <a:r>
              <a:rPr lang="vi-VN" sz="2400" b="1">
                <a:latin typeface="Calibri" panose="020F0502020204030204" pitchFamily="34" charset="0"/>
                <a:cs typeface="Calibri" panose="020F0502020204030204" pitchFamily="34" charset="0"/>
              </a:rPr>
              <a:t>LARAVEL</a:t>
            </a:r>
            <a:endParaRPr lang="en-GB" sz="2400" b="1">
              <a:latin typeface="Calibri" panose="020F0502020204030204" pitchFamily="34" charset="0"/>
              <a:cs typeface="Calibri" panose="020F0502020204030204" pitchFamily="34" charset="0"/>
            </a:endParaRPr>
          </a:p>
        </p:txBody>
      </p:sp>
      <p:sp>
        <p:nvSpPr>
          <p:cNvPr id="4" name="Freeform 32">
            <a:extLst>
              <a:ext uri="{FF2B5EF4-FFF2-40B4-BE49-F238E27FC236}">
                <a16:creationId xmlns:a16="http://schemas.microsoft.com/office/drawing/2014/main" id="{0F5BDAA7-C144-7208-ECB3-4A6E1705EE13}"/>
              </a:ext>
            </a:extLst>
          </p:cNvPr>
          <p:cNvSpPr/>
          <p:nvPr/>
        </p:nvSpPr>
        <p:spPr>
          <a:xfrm>
            <a:off x="1265238" y="3249613"/>
            <a:ext cx="2239962" cy="1936750"/>
          </a:xfrm>
          <a:custGeom>
            <a:avLst/>
            <a:gdLst>
              <a:gd name="connsiteX0" fmla="*/ 0 w 2239220"/>
              <a:gd name="connsiteY0" fmla="*/ 968508 h 1937016"/>
              <a:gd name="connsiteX1" fmla="*/ 553405 w 2239220"/>
              <a:gd name="connsiteY1" fmla="*/ 0 h 1937016"/>
              <a:gd name="connsiteX2" fmla="*/ 1685815 w 2239220"/>
              <a:gd name="connsiteY2" fmla="*/ 0 h 1937016"/>
              <a:gd name="connsiteX3" fmla="*/ 2239220 w 2239220"/>
              <a:gd name="connsiteY3" fmla="*/ 968508 h 1937016"/>
              <a:gd name="connsiteX4" fmla="*/ 1685815 w 2239220"/>
              <a:gd name="connsiteY4" fmla="*/ 1937016 h 1937016"/>
              <a:gd name="connsiteX5" fmla="*/ 553405 w 2239220"/>
              <a:gd name="connsiteY5" fmla="*/ 1937016 h 1937016"/>
              <a:gd name="connsiteX6" fmla="*/ 0 w 2239220"/>
              <a:gd name="connsiteY6" fmla="*/ 968508 h 19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9220" h="1937016">
                <a:moveTo>
                  <a:pt x="0" y="968508"/>
                </a:moveTo>
                <a:lnTo>
                  <a:pt x="553405" y="0"/>
                </a:lnTo>
                <a:lnTo>
                  <a:pt x="1685815" y="0"/>
                </a:lnTo>
                <a:lnTo>
                  <a:pt x="2239220" y="968508"/>
                </a:lnTo>
                <a:lnTo>
                  <a:pt x="1685815" y="1937016"/>
                </a:lnTo>
                <a:lnTo>
                  <a:pt x="553405" y="1937016"/>
                </a:lnTo>
                <a:lnTo>
                  <a:pt x="0" y="968508"/>
                </a:lnTo>
                <a:close/>
              </a:path>
            </a:pathLst>
          </a:custGeom>
          <a:noFill/>
          <a:ln w="28575">
            <a:solidFill>
              <a:srgbClr val="0070C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430760" tIns="380681" rIns="430760" bIns="380681" spcCol="1270" anchor="ctr"/>
          <a:lstStyle/>
          <a:p>
            <a:pPr algn="ctr" defTabSz="2089150">
              <a:lnSpc>
                <a:spcPct val="90000"/>
              </a:lnSpc>
              <a:spcAft>
                <a:spcPct val="35000"/>
              </a:spcAft>
              <a:defRPr/>
            </a:pPr>
            <a:endParaRPr lang="en-GB" sz="4700"/>
          </a:p>
        </p:txBody>
      </p:sp>
      <p:pic>
        <p:nvPicPr>
          <p:cNvPr id="10" name="Picture 33">
            <a:extLst>
              <a:ext uri="{FF2B5EF4-FFF2-40B4-BE49-F238E27FC236}">
                <a16:creationId xmlns:a16="http://schemas.microsoft.com/office/drawing/2014/main" id="{863C5E8E-13AA-9ECC-3E66-1D30B13DCDB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281113" y="3330575"/>
            <a:ext cx="2306637" cy="159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Callout 1 34">
            <a:extLst>
              <a:ext uri="{FF2B5EF4-FFF2-40B4-BE49-F238E27FC236}">
                <a16:creationId xmlns:a16="http://schemas.microsoft.com/office/drawing/2014/main" id="{60751819-2856-F859-A5CC-798FDE0D092F}"/>
              </a:ext>
            </a:extLst>
          </p:cNvPr>
          <p:cNvSpPr/>
          <p:nvPr/>
        </p:nvSpPr>
        <p:spPr>
          <a:xfrm>
            <a:off x="5651500" y="1766887"/>
            <a:ext cx="4715013" cy="3659877"/>
          </a:xfrm>
          <a:prstGeom prst="borderCallout1">
            <a:avLst>
              <a:gd name="adj1" fmla="val 31058"/>
              <a:gd name="adj2" fmla="val -133"/>
              <a:gd name="adj3" fmla="val 48196"/>
              <a:gd name="adj4" fmla="val -15664"/>
            </a:avLst>
          </a:prstGeom>
          <a:ln w="19050">
            <a:solidFill>
              <a:srgbClr val="FFC000"/>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anchor="ctr"/>
          <a:lstStyle/>
          <a:p>
            <a:pPr marL="285750" indent="-285750" algn="just">
              <a:lnSpc>
                <a:spcPct val="150000"/>
              </a:lnSpc>
              <a:buFont typeface="Wingdings" panose="05000000000000000000" pitchFamily="2" charset="2"/>
              <a:buChar char="ü"/>
              <a:defRPr/>
            </a:pPr>
            <a:r>
              <a:rPr lang="vi-VN">
                <a:latin typeface="Times New Roman" panose="02020603050405020304" pitchFamily="18" charset="0"/>
                <a:cs typeface="Times New Roman" panose="02020603050405020304" pitchFamily="18" charset="0"/>
              </a:rPr>
              <a:t>MySQL là hệ quản trị dữ liệu miễn phí, được tích hợp sử dụng chung với Apache, PHP. Chính yếu tố phát triển trong cộng đồng mã nguồn mở nên MySQL đã qua rất nhiều sự hỗ trợ của những lập trình viên yêu thích mã nguồn mở. MySQL cũng có cùng một cách truy xuất và mã lệnh tương tự với ngôn ngữ SQL. </a:t>
            </a:r>
            <a:endParaRPr lang="en-GB">
              <a:latin typeface="Times New Roman" panose="02020603050405020304" pitchFamily="18" charset="0"/>
              <a:cs typeface="Times New Roman" panose="02020603050405020304" pitchFamily="18" charset="0"/>
            </a:endParaRPr>
          </a:p>
        </p:txBody>
      </p:sp>
      <p:sp>
        <p:nvSpPr>
          <p:cNvPr id="13" name="Freeform 8">
            <a:extLst>
              <a:ext uri="{FF2B5EF4-FFF2-40B4-BE49-F238E27FC236}">
                <a16:creationId xmlns:a16="http://schemas.microsoft.com/office/drawing/2014/main" id="{824868E4-1299-1048-685C-A3AA922EC926}"/>
              </a:ext>
            </a:extLst>
          </p:cNvPr>
          <p:cNvSpPr/>
          <p:nvPr/>
        </p:nvSpPr>
        <p:spPr>
          <a:xfrm>
            <a:off x="3603625" y="3424238"/>
            <a:ext cx="1835150" cy="1587500"/>
          </a:xfrm>
          <a:custGeom>
            <a:avLst/>
            <a:gdLst>
              <a:gd name="connsiteX0" fmla="*/ 0 w 1835025"/>
              <a:gd name="connsiteY0" fmla="*/ 793756 h 1587512"/>
              <a:gd name="connsiteX1" fmla="*/ 453552 w 1835025"/>
              <a:gd name="connsiteY1" fmla="*/ 0 h 1587512"/>
              <a:gd name="connsiteX2" fmla="*/ 1381473 w 1835025"/>
              <a:gd name="connsiteY2" fmla="*/ 0 h 1587512"/>
              <a:gd name="connsiteX3" fmla="*/ 1835025 w 1835025"/>
              <a:gd name="connsiteY3" fmla="*/ 793756 h 1587512"/>
              <a:gd name="connsiteX4" fmla="*/ 1381473 w 1835025"/>
              <a:gd name="connsiteY4" fmla="*/ 1587512 h 1587512"/>
              <a:gd name="connsiteX5" fmla="*/ 453552 w 1835025"/>
              <a:gd name="connsiteY5" fmla="*/ 1587512 h 1587512"/>
              <a:gd name="connsiteX6" fmla="*/ 0 w 1835025"/>
              <a:gd name="connsiteY6" fmla="*/ 793756 h 1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025" h="1587512">
                <a:moveTo>
                  <a:pt x="0" y="793756"/>
                </a:moveTo>
                <a:lnTo>
                  <a:pt x="453552" y="0"/>
                </a:lnTo>
                <a:lnTo>
                  <a:pt x="1381473" y="0"/>
                </a:lnTo>
                <a:lnTo>
                  <a:pt x="1835025" y="793756"/>
                </a:lnTo>
                <a:lnTo>
                  <a:pt x="1381473" y="1587512"/>
                </a:lnTo>
                <a:lnTo>
                  <a:pt x="453552" y="1587512"/>
                </a:lnTo>
                <a:lnTo>
                  <a:pt x="0" y="793756"/>
                </a:lnTo>
                <a:close/>
              </a:path>
            </a:pathLst>
          </a:custGeom>
          <a:solidFill>
            <a:srgbClr val="FFC000"/>
          </a:solidFill>
        </p:spPr>
        <p:style>
          <a:lnRef idx="3">
            <a:schemeClr val="lt1"/>
          </a:lnRef>
          <a:fillRef idx="1">
            <a:schemeClr val="accent4"/>
          </a:fillRef>
          <a:effectRef idx="1">
            <a:schemeClr val="accent4"/>
          </a:effectRef>
          <a:fontRef idx="minor">
            <a:schemeClr val="lt1"/>
          </a:fontRef>
        </p:style>
        <p:txBody>
          <a:bodyPr lIns="353633" tIns="312615" rIns="353633" bIns="312615" spcCol="1270" anchor="ctr"/>
          <a:lstStyle/>
          <a:p>
            <a:pPr algn="ctr" defTabSz="1733550">
              <a:lnSpc>
                <a:spcPct val="90000"/>
              </a:lnSpc>
              <a:spcAft>
                <a:spcPct val="35000"/>
              </a:spcAft>
              <a:defRPr/>
            </a:pPr>
            <a:r>
              <a:rPr lang="vi-VN" sz="2400" b="1">
                <a:latin typeface="Calibri" panose="020F0502020204030204" pitchFamily="34" charset="0"/>
                <a:cs typeface="Calibri" panose="020F0502020204030204" pitchFamily="34" charset="0"/>
              </a:rPr>
              <a:t>MySQL</a:t>
            </a:r>
            <a:endParaRPr lang="en-GB" sz="2400" b="1">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499966546"/>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par>
                                <p:cTn id="11" presetID="3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1000" fill="hold"/>
                                        <p:tgtEl>
                                          <p:spTgt spid="3"/>
                                        </p:tgtEl>
                                        <p:attrNameLst>
                                          <p:attrName>ppt_w</p:attrName>
                                        </p:attrNameLst>
                                      </p:cBhvr>
                                      <p:tavLst>
                                        <p:tav tm="0">
                                          <p:val>
                                            <p:fltVal val="0"/>
                                          </p:val>
                                        </p:tav>
                                        <p:tav tm="100000">
                                          <p:val>
                                            <p:strVal val="#ppt_w"/>
                                          </p:val>
                                        </p:tav>
                                      </p:tavLst>
                                    </p:anim>
                                    <p:anim calcmode="lin" valueType="num">
                                      <p:cBhvr>
                                        <p:cTn id="14" dur="1000" fill="hold"/>
                                        <p:tgtEl>
                                          <p:spTgt spid="3"/>
                                        </p:tgtEl>
                                        <p:attrNameLst>
                                          <p:attrName>ppt_h</p:attrName>
                                        </p:attrNameLst>
                                      </p:cBhvr>
                                      <p:tavLst>
                                        <p:tav tm="0">
                                          <p:val>
                                            <p:fltVal val="0"/>
                                          </p:val>
                                        </p:tav>
                                        <p:tav tm="100000">
                                          <p:val>
                                            <p:strVal val="#ppt_h"/>
                                          </p:val>
                                        </p:tav>
                                      </p:tavLst>
                                    </p:anim>
                                    <p:anim calcmode="lin" valueType="num">
                                      <p:cBhvr>
                                        <p:cTn id="15" dur="1000" fill="hold"/>
                                        <p:tgtEl>
                                          <p:spTgt spid="3"/>
                                        </p:tgtEl>
                                        <p:attrNameLst>
                                          <p:attrName>style.rotation</p:attrName>
                                        </p:attrNameLst>
                                      </p:cBhvr>
                                      <p:tavLst>
                                        <p:tav tm="0">
                                          <p:val>
                                            <p:fltVal val="90"/>
                                          </p:val>
                                        </p:tav>
                                        <p:tav tm="100000">
                                          <p:val>
                                            <p:fltVal val="0"/>
                                          </p:val>
                                        </p:tav>
                                      </p:tavLst>
                                    </p:anim>
                                    <p:animEffect transition="in" filter="fade">
                                      <p:cBhvr>
                                        <p:cTn id="16" dur="1000"/>
                                        <p:tgtEl>
                                          <p:spTgt spid="3"/>
                                        </p:tgtEl>
                                      </p:cBhvr>
                                    </p:animEffect>
                                  </p:childTnLst>
                                </p:cTn>
                              </p:par>
                              <p:par>
                                <p:cTn id="17" presetID="31"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p:cTn id="19" dur="1000" fill="hold"/>
                                        <p:tgtEl>
                                          <p:spTgt spid="4"/>
                                        </p:tgtEl>
                                        <p:attrNameLst>
                                          <p:attrName>ppt_w</p:attrName>
                                        </p:attrNameLst>
                                      </p:cBhvr>
                                      <p:tavLst>
                                        <p:tav tm="0">
                                          <p:val>
                                            <p:fltVal val="0"/>
                                          </p:val>
                                        </p:tav>
                                        <p:tav tm="100000">
                                          <p:val>
                                            <p:strVal val="#ppt_w"/>
                                          </p:val>
                                        </p:tav>
                                      </p:tavLst>
                                    </p:anim>
                                    <p:anim calcmode="lin" valueType="num">
                                      <p:cBhvr>
                                        <p:cTn id="20" dur="1000" fill="hold"/>
                                        <p:tgtEl>
                                          <p:spTgt spid="4"/>
                                        </p:tgtEl>
                                        <p:attrNameLst>
                                          <p:attrName>ppt_h</p:attrName>
                                        </p:attrNameLst>
                                      </p:cBhvr>
                                      <p:tavLst>
                                        <p:tav tm="0">
                                          <p:val>
                                            <p:fltVal val="0"/>
                                          </p:val>
                                        </p:tav>
                                        <p:tav tm="100000">
                                          <p:val>
                                            <p:strVal val="#ppt_h"/>
                                          </p:val>
                                        </p:tav>
                                      </p:tavLst>
                                    </p:anim>
                                    <p:anim calcmode="lin" valueType="num">
                                      <p:cBhvr>
                                        <p:cTn id="21" dur="1000" fill="hold"/>
                                        <p:tgtEl>
                                          <p:spTgt spid="4"/>
                                        </p:tgtEl>
                                        <p:attrNameLst>
                                          <p:attrName>style.rotation</p:attrName>
                                        </p:attrNameLst>
                                      </p:cBhvr>
                                      <p:tavLst>
                                        <p:tav tm="0">
                                          <p:val>
                                            <p:fltVal val="90"/>
                                          </p:val>
                                        </p:tav>
                                        <p:tav tm="100000">
                                          <p:val>
                                            <p:fltVal val="0"/>
                                          </p:val>
                                        </p:tav>
                                      </p:tavLst>
                                    </p:anim>
                                    <p:animEffect transition="in" filter="fade">
                                      <p:cBhvr>
                                        <p:cTn id="22" dur="1000"/>
                                        <p:tgtEl>
                                          <p:spTgt spid="4"/>
                                        </p:tgtEl>
                                      </p:cBhvr>
                                    </p:animEffect>
                                  </p:childTnLst>
                                </p:cTn>
                              </p:par>
                              <p:par>
                                <p:cTn id="23" presetID="3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p:cTn id="25" dur="1000" fill="hold"/>
                                        <p:tgtEl>
                                          <p:spTgt spid="10"/>
                                        </p:tgtEl>
                                        <p:attrNameLst>
                                          <p:attrName>ppt_w</p:attrName>
                                        </p:attrNameLst>
                                      </p:cBhvr>
                                      <p:tavLst>
                                        <p:tav tm="0">
                                          <p:val>
                                            <p:fltVal val="0"/>
                                          </p:val>
                                        </p:tav>
                                        <p:tav tm="100000">
                                          <p:val>
                                            <p:strVal val="#ppt_w"/>
                                          </p:val>
                                        </p:tav>
                                      </p:tavLst>
                                    </p:anim>
                                    <p:anim calcmode="lin" valueType="num">
                                      <p:cBhvr>
                                        <p:cTn id="26" dur="1000" fill="hold"/>
                                        <p:tgtEl>
                                          <p:spTgt spid="10"/>
                                        </p:tgtEl>
                                        <p:attrNameLst>
                                          <p:attrName>ppt_h</p:attrName>
                                        </p:attrNameLst>
                                      </p:cBhvr>
                                      <p:tavLst>
                                        <p:tav tm="0">
                                          <p:val>
                                            <p:fltVal val="0"/>
                                          </p:val>
                                        </p:tav>
                                        <p:tav tm="100000">
                                          <p:val>
                                            <p:strVal val="#ppt_h"/>
                                          </p:val>
                                        </p:tav>
                                      </p:tavLst>
                                    </p:anim>
                                    <p:anim calcmode="lin" valueType="num">
                                      <p:cBhvr>
                                        <p:cTn id="27" dur="1000" fill="hold"/>
                                        <p:tgtEl>
                                          <p:spTgt spid="10"/>
                                        </p:tgtEl>
                                        <p:attrNameLst>
                                          <p:attrName>style.rotation</p:attrName>
                                        </p:attrNameLst>
                                      </p:cBhvr>
                                      <p:tavLst>
                                        <p:tav tm="0">
                                          <p:val>
                                            <p:fltVal val="90"/>
                                          </p:val>
                                        </p:tav>
                                        <p:tav tm="100000">
                                          <p:val>
                                            <p:fltVal val="0"/>
                                          </p:val>
                                        </p:tav>
                                      </p:tavLst>
                                    </p:anim>
                                    <p:animEffect transition="in" filter="fade">
                                      <p:cBhvr>
                                        <p:cTn id="28" dur="1000"/>
                                        <p:tgtEl>
                                          <p:spTgt spid="10"/>
                                        </p:tgtEl>
                                      </p:cBhvr>
                                    </p:animEffect>
                                  </p:childTnLst>
                                </p:cTn>
                              </p:par>
                            </p:childTnLst>
                          </p:cTn>
                        </p:par>
                      </p:childTnLst>
                    </p:cTn>
                  </p:par>
                  <p:par>
                    <p:cTn id="29" fill="hold">
                      <p:stCondLst>
                        <p:cond delay="indefinite"/>
                      </p:stCondLst>
                      <p:childTnLst>
                        <p:par>
                          <p:cTn id="30" fill="hold">
                            <p:stCondLst>
                              <p:cond delay="0"/>
                            </p:stCondLst>
                            <p:childTnLst>
                              <p:par>
                                <p:cTn id="31" presetID="45" presetClass="entr" presetSubtype="0" fill="hold" nodeType="click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2000"/>
                                        <p:tgtEl>
                                          <p:spTgt spid="13"/>
                                        </p:tgtEl>
                                      </p:cBhvr>
                                    </p:animEffect>
                                    <p:anim calcmode="lin" valueType="num">
                                      <p:cBhvr>
                                        <p:cTn id="34" dur="2000" fill="hold"/>
                                        <p:tgtEl>
                                          <p:spTgt spid="13"/>
                                        </p:tgtEl>
                                        <p:attrNameLst>
                                          <p:attrName>ppt_w</p:attrName>
                                        </p:attrNameLst>
                                      </p:cBhvr>
                                      <p:tavLst>
                                        <p:tav tm="0" fmla="#ppt_w*sin(2.5*pi*$)">
                                          <p:val>
                                            <p:fltVal val="0"/>
                                          </p:val>
                                        </p:tav>
                                        <p:tav tm="100000">
                                          <p:val>
                                            <p:fltVal val="1"/>
                                          </p:val>
                                        </p:tav>
                                      </p:tavLst>
                                    </p:anim>
                                    <p:anim calcmode="lin" valueType="num">
                                      <p:cBhvr>
                                        <p:cTn id="35" dur="2000" fill="hold"/>
                                        <p:tgtEl>
                                          <p:spTgt spid="13"/>
                                        </p:tgtEl>
                                        <p:attrNameLst>
                                          <p:attrName>ppt_h</p:attrName>
                                        </p:attrNameLst>
                                      </p:cBhvr>
                                      <p:tavLst>
                                        <p:tav tm="0">
                                          <p:val>
                                            <p:strVal val="#ppt_h"/>
                                          </p:val>
                                        </p:tav>
                                        <p:tav tm="100000">
                                          <p:val>
                                            <p:strVal val="#ppt_h"/>
                                          </p:val>
                                        </p:tav>
                                      </p:tavLst>
                                    </p:anim>
                                  </p:childTnLst>
                                </p:cTn>
                              </p:par>
                            </p:childTnLst>
                          </p:cTn>
                        </p:par>
                      </p:childTnLst>
                    </p:cTn>
                  </p:par>
                  <p:par>
                    <p:cTn id="36" fill="hold">
                      <p:stCondLst>
                        <p:cond delay="indefinite"/>
                      </p:stCondLst>
                      <p:childTnLst>
                        <p:par>
                          <p:cTn id="37" fill="hold">
                            <p:stCondLst>
                              <p:cond delay="0"/>
                            </p:stCondLst>
                            <p:childTnLst>
                              <p:par>
                                <p:cTn id="38" presetID="26" presetClass="entr" presetSubtype="0" fill="hold"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down)">
                                      <p:cBhvr>
                                        <p:cTn id="40" dur="580">
                                          <p:stCondLst>
                                            <p:cond delay="0"/>
                                          </p:stCondLst>
                                        </p:cTn>
                                        <p:tgtEl>
                                          <p:spTgt spid="11"/>
                                        </p:tgtEl>
                                      </p:cBhvr>
                                    </p:animEffect>
                                    <p:anim calcmode="lin" valueType="num">
                                      <p:cBhvr>
                                        <p:cTn id="41"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42"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43"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44"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45"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46" dur="26">
                                          <p:stCondLst>
                                            <p:cond delay="650"/>
                                          </p:stCondLst>
                                        </p:cTn>
                                        <p:tgtEl>
                                          <p:spTgt spid="11"/>
                                        </p:tgtEl>
                                      </p:cBhvr>
                                      <p:to x="100000" y="60000"/>
                                    </p:animScale>
                                    <p:animScale>
                                      <p:cBhvr>
                                        <p:cTn id="47" dur="166" decel="50000">
                                          <p:stCondLst>
                                            <p:cond delay="676"/>
                                          </p:stCondLst>
                                        </p:cTn>
                                        <p:tgtEl>
                                          <p:spTgt spid="11"/>
                                        </p:tgtEl>
                                      </p:cBhvr>
                                      <p:to x="100000" y="100000"/>
                                    </p:animScale>
                                    <p:animScale>
                                      <p:cBhvr>
                                        <p:cTn id="48" dur="26">
                                          <p:stCondLst>
                                            <p:cond delay="1312"/>
                                          </p:stCondLst>
                                        </p:cTn>
                                        <p:tgtEl>
                                          <p:spTgt spid="11"/>
                                        </p:tgtEl>
                                      </p:cBhvr>
                                      <p:to x="100000" y="80000"/>
                                    </p:animScale>
                                    <p:animScale>
                                      <p:cBhvr>
                                        <p:cTn id="49" dur="166" decel="50000">
                                          <p:stCondLst>
                                            <p:cond delay="1338"/>
                                          </p:stCondLst>
                                        </p:cTn>
                                        <p:tgtEl>
                                          <p:spTgt spid="11"/>
                                        </p:tgtEl>
                                      </p:cBhvr>
                                      <p:to x="100000" y="100000"/>
                                    </p:animScale>
                                    <p:animScale>
                                      <p:cBhvr>
                                        <p:cTn id="50" dur="26">
                                          <p:stCondLst>
                                            <p:cond delay="1642"/>
                                          </p:stCondLst>
                                        </p:cTn>
                                        <p:tgtEl>
                                          <p:spTgt spid="11"/>
                                        </p:tgtEl>
                                      </p:cBhvr>
                                      <p:to x="100000" y="90000"/>
                                    </p:animScale>
                                    <p:animScale>
                                      <p:cBhvr>
                                        <p:cTn id="51" dur="166" decel="50000">
                                          <p:stCondLst>
                                            <p:cond delay="1668"/>
                                          </p:stCondLst>
                                        </p:cTn>
                                        <p:tgtEl>
                                          <p:spTgt spid="11"/>
                                        </p:tgtEl>
                                      </p:cBhvr>
                                      <p:to x="100000" y="100000"/>
                                    </p:animScale>
                                    <p:animScale>
                                      <p:cBhvr>
                                        <p:cTn id="52" dur="26">
                                          <p:stCondLst>
                                            <p:cond delay="1808"/>
                                          </p:stCondLst>
                                        </p:cTn>
                                        <p:tgtEl>
                                          <p:spTgt spid="11"/>
                                        </p:tgtEl>
                                      </p:cBhvr>
                                      <p:to x="100000" y="95000"/>
                                    </p:animScale>
                                    <p:animScale>
                                      <p:cBhvr>
                                        <p:cTn id="53"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1" grpId="0" animBg="1"/>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3367709" y="478444"/>
            <a:ext cx="5456582" cy="575422"/>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CÔNG NGHỆ THIẾT KẾ WEBSITE</a:t>
            </a:r>
            <a:endParaRPr lang="vi-VN" altLang="vi-VN" sz="2600" b="1">
              <a:solidFill>
                <a:srgbClr val="004195"/>
              </a:solidFill>
              <a:latin typeface="Noto Sans"/>
              <a:ea typeface="Noto Sans"/>
              <a:cs typeface="+mn-ea"/>
              <a:sym typeface="Source Han Serif SC" panose="02020700000000000000" pitchFamily="18" charset="-122"/>
            </a:endParaRPr>
          </a:p>
        </p:txBody>
      </p:sp>
      <p:sp>
        <p:nvSpPr>
          <p:cNvPr id="5" name="Freeform 28">
            <a:extLst>
              <a:ext uri="{FF2B5EF4-FFF2-40B4-BE49-F238E27FC236}">
                <a16:creationId xmlns:a16="http://schemas.microsoft.com/office/drawing/2014/main" id="{38666BD7-A8E7-9192-87A9-35F1E374489B}"/>
              </a:ext>
            </a:extLst>
          </p:cNvPr>
          <p:cNvSpPr/>
          <p:nvPr/>
        </p:nvSpPr>
        <p:spPr>
          <a:xfrm>
            <a:off x="1338053" y="952968"/>
            <a:ext cx="2730246" cy="2026142"/>
          </a:xfrm>
          <a:custGeom>
            <a:avLst/>
            <a:gdLst>
              <a:gd name="connsiteX0" fmla="*/ 0 w 1835025"/>
              <a:gd name="connsiteY0" fmla="*/ 793756 h 1587512"/>
              <a:gd name="connsiteX1" fmla="*/ 453552 w 1835025"/>
              <a:gd name="connsiteY1" fmla="*/ 0 h 1587512"/>
              <a:gd name="connsiteX2" fmla="*/ 1381473 w 1835025"/>
              <a:gd name="connsiteY2" fmla="*/ 0 h 1587512"/>
              <a:gd name="connsiteX3" fmla="*/ 1835025 w 1835025"/>
              <a:gd name="connsiteY3" fmla="*/ 793756 h 1587512"/>
              <a:gd name="connsiteX4" fmla="*/ 1381473 w 1835025"/>
              <a:gd name="connsiteY4" fmla="*/ 1587512 h 1587512"/>
              <a:gd name="connsiteX5" fmla="*/ 453552 w 1835025"/>
              <a:gd name="connsiteY5" fmla="*/ 1587512 h 1587512"/>
              <a:gd name="connsiteX6" fmla="*/ 0 w 1835025"/>
              <a:gd name="connsiteY6" fmla="*/ 793756 h 1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025" h="1587512">
                <a:moveTo>
                  <a:pt x="0" y="793756"/>
                </a:moveTo>
                <a:lnTo>
                  <a:pt x="453552" y="0"/>
                </a:lnTo>
                <a:lnTo>
                  <a:pt x="1381473" y="0"/>
                </a:lnTo>
                <a:lnTo>
                  <a:pt x="1835025" y="793756"/>
                </a:lnTo>
                <a:lnTo>
                  <a:pt x="1381473" y="1587512"/>
                </a:lnTo>
                <a:lnTo>
                  <a:pt x="453552" y="1587512"/>
                </a:lnTo>
                <a:lnTo>
                  <a:pt x="0" y="793756"/>
                </a:lnTo>
                <a:close/>
              </a:path>
            </a:pathLst>
          </a:custGeom>
          <a:solidFill>
            <a:srgbClr val="00B0F0"/>
          </a:solidFill>
          <a:ln w="19050">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lIns="353633" tIns="312615" rIns="353633" bIns="312615" spcCol="1270" anchor="ctr"/>
          <a:lstStyle/>
          <a:p>
            <a:pPr algn="ctr" defTabSz="1733550">
              <a:lnSpc>
                <a:spcPct val="90000"/>
              </a:lnSpc>
              <a:spcAft>
                <a:spcPct val="35000"/>
              </a:spcAft>
              <a:defRPr/>
            </a:pPr>
            <a:r>
              <a:rPr lang="vi-VN" sz="2000" b="1">
                <a:latin typeface="Calibri" panose="020F0502020204030204" pitchFamily="34" charset="0"/>
                <a:cs typeface="Calibri" panose="020F0502020204030204" pitchFamily="34" charset="0"/>
              </a:rPr>
              <a:t>HTML</a:t>
            </a:r>
          </a:p>
          <a:p>
            <a:pPr algn="ctr" defTabSz="1733550">
              <a:lnSpc>
                <a:spcPct val="90000"/>
              </a:lnSpc>
              <a:spcAft>
                <a:spcPct val="35000"/>
              </a:spcAft>
              <a:defRPr/>
            </a:pPr>
            <a:r>
              <a:rPr lang="vi-VN" sz="2000" b="1">
                <a:latin typeface="Calibri" panose="020F0502020204030204" pitchFamily="34" charset="0"/>
                <a:cs typeface="Calibri" panose="020F0502020204030204" pitchFamily="34" charset="0"/>
              </a:rPr>
              <a:t>CSS</a:t>
            </a:r>
          </a:p>
          <a:p>
            <a:pPr algn="ctr" defTabSz="1733550">
              <a:lnSpc>
                <a:spcPct val="90000"/>
              </a:lnSpc>
              <a:spcAft>
                <a:spcPct val="35000"/>
              </a:spcAft>
              <a:defRPr/>
            </a:pPr>
            <a:r>
              <a:rPr lang="en-GB" sz="2000" b="1">
                <a:latin typeface="Calibri" panose="020F0502020204030204" pitchFamily="34" charset="0"/>
                <a:cs typeface="Calibri" panose="020F0502020204030204" pitchFamily="34" charset="0"/>
              </a:rPr>
              <a:t>JavaScript</a:t>
            </a:r>
          </a:p>
        </p:txBody>
      </p:sp>
      <p:sp>
        <p:nvSpPr>
          <p:cNvPr id="6" name="Freeform 30">
            <a:extLst>
              <a:ext uri="{FF2B5EF4-FFF2-40B4-BE49-F238E27FC236}">
                <a16:creationId xmlns:a16="http://schemas.microsoft.com/office/drawing/2014/main" id="{B801C7A5-11EF-B508-4772-2F7E4A2B8ED8}"/>
              </a:ext>
            </a:extLst>
          </p:cNvPr>
          <p:cNvSpPr/>
          <p:nvPr/>
        </p:nvSpPr>
        <p:spPr>
          <a:xfrm>
            <a:off x="7599613" y="1269780"/>
            <a:ext cx="2882882" cy="1957208"/>
          </a:xfrm>
          <a:custGeom>
            <a:avLst/>
            <a:gdLst>
              <a:gd name="connsiteX0" fmla="*/ 0 w 1835025"/>
              <a:gd name="connsiteY0" fmla="*/ 793756 h 1587512"/>
              <a:gd name="connsiteX1" fmla="*/ 453552 w 1835025"/>
              <a:gd name="connsiteY1" fmla="*/ 0 h 1587512"/>
              <a:gd name="connsiteX2" fmla="*/ 1381473 w 1835025"/>
              <a:gd name="connsiteY2" fmla="*/ 0 h 1587512"/>
              <a:gd name="connsiteX3" fmla="*/ 1835025 w 1835025"/>
              <a:gd name="connsiteY3" fmla="*/ 793756 h 1587512"/>
              <a:gd name="connsiteX4" fmla="*/ 1381473 w 1835025"/>
              <a:gd name="connsiteY4" fmla="*/ 1587512 h 1587512"/>
              <a:gd name="connsiteX5" fmla="*/ 453552 w 1835025"/>
              <a:gd name="connsiteY5" fmla="*/ 1587512 h 1587512"/>
              <a:gd name="connsiteX6" fmla="*/ 0 w 1835025"/>
              <a:gd name="connsiteY6" fmla="*/ 793756 h 1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025" h="1587512">
                <a:moveTo>
                  <a:pt x="0" y="793756"/>
                </a:moveTo>
                <a:lnTo>
                  <a:pt x="453552" y="0"/>
                </a:lnTo>
                <a:lnTo>
                  <a:pt x="1381473" y="0"/>
                </a:lnTo>
                <a:lnTo>
                  <a:pt x="1835025" y="793756"/>
                </a:lnTo>
                <a:lnTo>
                  <a:pt x="1381473" y="1587512"/>
                </a:lnTo>
                <a:lnTo>
                  <a:pt x="453552" y="1587512"/>
                </a:lnTo>
                <a:lnTo>
                  <a:pt x="0" y="793756"/>
                </a:lnTo>
                <a:close/>
              </a:path>
            </a:pathLst>
          </a:custGeom>
          <a:solidFill>
            <a:srgbClr val="0070C0"/>
          </a:solidFill>
        </p:spPr>
        <p:style>
          <a:lnRef idx="3">
            <a:schemeClr val="lt1"/>
          </a:lnRef>
          <a:fillRef idx="1">
            <a:schemeClr val="accent1"/>
          </a:fillRef>
          <a:effectRef idx="1">
            <a:schemeClr val="accent1"/>
          </a:effectRef>
          <a:fontRef idx="minor">
            <a:schemeClr val="lt1"/>
          </a:fontRef>
        </p:style>
        <p:txBody>
          <a:bodyPr lIns="353633" tIns="312615" rIns="353633" bIns="312615" spcCol="1270" anchor="ctr"/>
          <a:lstStyle/>
          <a:p>
            <a:pPr algn="ctr" defTabSz="1733550">
              <a:lnSpc>
                <a:spcPct val="90000"/>
              </a:lnSpc>
              <a:spcAft>
                <a:spcPct val="35000"/>
              </a:spcAft>
              <a:defRPr/>
            </a:pPr>
            <a:r>
              <a:rPr lang="vi-VN" sz="2400" b="1">
                <a:latin typeface="Calibri" panose="020F0502020204030204" pitchFamily="34" charset="0"/>
                <a:cs typeface="Calibri" panose="020F0502020204030204" pitchFamily="34" charset="0"/>
              </a:rPr>
              <a:t>PHP</a:t>
            </a:r>
          </a:p>
          <a:p>
            <a:pPr algn="ctr" defTabSz="1733550">
              <a:lnSpc>
                <a:spcPct val="90000"/>
              </a:lnSpc>
              <a:spcAft>
                <a:spcPct val="35000"/>
              </a:spcAft>
              <a:defRPr/>
            </a:pPr>
            <a:r>
              <a:rPr lang="vi-VN" sz="2400" b="1">
                <a:latin typeface="Calibri" panose="020F0502020204030204" pitchFamily="34" charset="0"/>
                <a:cs typeface="Calibri" panose="020F0502020204030204" pitchFamily="34" charset="0"/>
              </a:rPr>
              <a:t>LARAVEL</a:t>
            </a:r>
            <a:endParaRPr lang="en-GB" sz="2400" b="1">
              <a:latin typeface="Calibri" panose="020F0502020204030204" pitchFamily="34" charset="0"/>
              <a:cs typeface="Calibri" panose="020F0502020204030204" pitchFamily="34" charset="0"/>
            </a:endParaRPr>
          </a:p>
        </p:txBody>
      </p:sp>
      <p:sp>
        <p:nvSpPr>
          <p:cNvPr id="7" name="Freeform 32">
            <a:extLst>
              <a:ext uri="{FF2B5EF4-FFF2-40B4-BE49-F238E27FC236}">
                <a16:creationId xmlns:a16="http://schemas.microsoft.com/office/drawing/2014/main" id="{ABE9FAB5-F910-68DB-9E73-5A603FF0CABF}"/>
              </a:ext>
            </a:extLst>
          </p:cNvPr>
          <p:cNvSpPr/>
          <p:nvPr/>
        </p:nvSpPr>
        <p:spPr>
          <a:xfrm>
            <a:off x="4341242" y="2078521"/>
            <a:ext cx="2983821" cy="2543142"/>
          </a:xfrm>
          <a:custGeom>
            <a:avLst/>
            <a:gdLst>
              <a:gd name="connsiteX0" fmla="*/ 0 w 2239220"/>
              <a:gd name="connsiteY0" fmla="*/ 968508 h 1937016"/>
              <a:gd name="connsiteX1" fmla="*/ 553405 w 2239220"/>
              <a:gd name="connsiteY1" fmla="*/ 0 h 1937016"/>
              <a:gd name="connsiteX2" fmla="*/ 1685815 w 2239220"/>
              <a:gd name="connsiteY2" fmla="*/ 0 h 1937016"/>
              <a:gd name="connsiteX3" fmla="*/ 2239220 w 2239220"/>
              <a:gd name="connsiteY3" fmla="*/ 968508 h 1937016"/>
              <a:gd name="connsiteX4" fmla="*/ 1685815 w 2239220"/>
              <a:gd name="connsiteY4" fmla="*/ 1937016 h 1937016"/>
              <a:gd name="connsiteX5" fmla="*/ 553405 w 2239220"/>
              <a:gd name="connsiteY5" fmla="*/ 1937016 h 1937016"/>
              <a:gd name="connsiteX6" fmla="*/ 0 w 2239220"/>
              <a:gd name="connsiteY6" fmla="*/ 968508 h 19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9220" h="1937016">
                <a:moveTo>
                  <a:pt x="0" y="968508"/>
                </a:moveTo>
                <a:lnTo>
                  <a:pt x="553405" y="0"/>
                </a:lnTo>
                <a:lnTo>
                  <a:pt x="1685815" y="0"/>
                </a:lnTo>
                <a:lnTo>
                  <a:pt x="2239220" y="968508"/>
                </a:lnTo>
                <a:lnTo>
                  <a:pt x="1685815" y="1937016"/>
                </a:lnTo>
                <a:lnTo>
                  <a:pt x="553405" y="1937016"/>
                </a:lnTo>
                <a:lnTo>
                  <a:pt x="0" y="968508"/>
                </a:lnTo>
                <a:close/>
              </a:path>
            </a:pathLst>
          </a:custGeom>
          <a:noFill/>
          <a:ln w="28575">
            <a:solidFill>
              <a:srgbClr val="0070C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430760" tIns="380681" rIns="430760" bIns="380681" spcCol="1270" anchor="ctr"/>
          <a:lstStyle/>
          <a:p>
            <a:pPr algn="ctr" defTabSz="2089150">
              <a:lnSpc>
                <a:spcPct val="90000"/>
              </a:lnSpc>
              <a:spcAft>
                <a:spcPct val="35000"/>
              </a:spcAft>
              <a:defRPr/>
            </a:pPr>
            <a:endParaRPr lang="en-GB" sz="4700"/>
          </a:p>
        </p:txBody>
      </p:sp>
      <p:pic>
        <p:nvPicPr>
          <p:cNvPr id="8" name="Picture 33">
            <a:extLst>
              <a:ext uri="{FF2B5EF4-FFF2-40B4-BE49-F238E27FC236}">
                <a16:creationId xmlns:a16="http://schemas.microsoft.com/office/drawing/2014/main" id="{42F1AE25-D2F3-E0C5-DA56-7CF010AFFF3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412681" y="2248384"/>
            <a:ext cx="2882882" cy="199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reeform 8">
            <a:extLst>
              <a:ext uri="{FF2B5EF4-FFF2-40B4-BE49-F238E27FC236}">
                <a16:creationId xmlns:a16="http://schemas.microsoft.com/office/drawing/2014/main" id="{6BA63EB3-B0C6-0F34-B3B2-11518339C9BE}"/>
              </a:ext>
            </a:extLst>
          </p:cNvPr>
          <p:cNvSpPr/>
          <p:nvPr/>
        </p:nvSpPr>
        <p:spPr>
          <a:xfrm>
            <a:off x="7656236" y="3701511"/>
            <a:ext cx="2769635" cy="2230480"/>
          </a:xfrm>
          <a:custGeom>
            <a:avLst/>
            <a:gdLst>
              <a:gd name="connsiteX0" fmla="*/ 0 w 1835025"/>
              <a:gd name="connsiteY0" fmla="*/ 793756 h 1587512"/>
              <a:gd name="connsiteX1" fmla="*/ 453552 w 1835025"/>
              <a:gd name="connsiteY1" fmla="*/ 0 h 1587512"/>
              <a:gd name="connsiteX2" fmla="*/ 1381473 w 1835025"/>
              <a:gd name="connsiteY2" fmla="*/ 0 h 1587512"/>
              <a:gd name="connsiteX3" fmla="*/ 1835025 w 1835025"/>
              <a:gd name="connsiteY3" fmla="*/ 793756 h 1587512"/>
              <a:gd name="connsiteX4" fmla="*/ 1381473 w 1835025"/>
              <a:gd name="connsiteY4" fmla="*/ 1587512 h 1587512"/>
              <a:gd name="connsiteX5" fmla="*/ 453552 w 1835025"/>
              <a:gd name="connsiteY5" fmla="*/ 1587512 h 1587512"/>
              <a:gd name="connsiteX6" fmla="*/ 0 w 1835025"/>
              <a:gd name="connsiteY6" fmla="*/ 793756 h 1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025" h="1587512">
                <a:moveTo>
                  <a:pt x="0" y="793756"/>
                </a:moveTo>
                <a:lnTo>
                  <a:pt x="453552" y="0"/>
                </a:lnTo>
                <a:lnTo>
                  <a:pt x="1381473" y="0"/>
                </a:lnTo>
                <a:lnTo>
                  <a:pt x="1835025" y="793756"/>
                </a:lnTo>
                <a:lnTo>
                  <a:pt x="1381473" y="1587512"/>
                </a:lnTo>
                <a:lnTo>
                  <a:pt x="453552" y="1587512"/>
                </a:lnTo>
                <a:lnTo>
                  <a:pt x="0" y="793756"/>
                </a:lnTo>
                <a:close/>
              </a:path>
            </a:pathLst>
          </a:custGeom>
          <a:solidFill>
            <a:srgbClr val="FFC000"/>
          </a:solidFill>
        </p:spPr>
        <p:style>
          <a:lnRef idx="3">
            <a:schemeClr val="lt1"/>
          </a:lnRef>
          <a:fillRef idx="1">
            <a:schemeClr val="accent4"/>
          </a:fillRef>
          <a:effectRef idx="1">
            <a:schemeClr val="accent4"/>
          </a:effectRef>
          <a:fontRef idx="minor">
            <a:schemeClr val="lt1"/>
          </a:fontRef>
        </p:style>
        <p:txBody>
          <a:bodyPr lIns="353633" tIns="312615" rIns="353633" bIns="312615" spcCol="1270" anchor="ctr"/>
          <a:lstStyle/>
          <a:p>
            <a:pPr algn="ctr" defTabSz="1733550">
              <a:lnSpc>
                <a:spcPct val="90000"/>
              </a:lnSpc>
              <a:spcAft>
                <a:spcPct val="35000"/>
              </a:spcAft>
              <a:defRPr/>
            </a:pPr>
            <a:r>
              <a:rPr lang="vi-VN" sz="2000" b="1">
                <a:latin typeface="Calibri" panose="020F0502020204030204" pitchFamily="34" charset="0"/>
                <a:cs typeface="Calibri" panose="020F0502020204030204" pitchFamily="34" charset="0"/>
              </a:rPr>
              <a:t>MySQL</a:t>
            </a:r>
            <a:endParaRPr lang="en-GB" sz="2000" b="1">
              <a:latin typeface="Calibri" panose="020F0502020204030204" pitchFamily="34" charset="0"/>
              <a:cs typeface="Calibri" panose="020F0502020204030204" pitchFamily="34" charset="0"/>
            </a:endParaRPr>
          </a:p>
        </p:txBody>
      </p:sp>
      <p:sp>
        <p:nvSpPr>
          <p:cNvPr id="14" name="Freeform 10">
            <a:extLst>
              <a:ext uri="{FF2B5EF4-FFF2-40B4-BE49-F238E27FC236}">
                <a16:creationId xmlns:a16="http://schemas.microsoft.com/office/drawing/2014/main" id="{F81E1D0F-C3E0-91B0-E373-317632CA729C}"/>
              </a:ext>
            </a:extLst>
          </p:cNvPr>
          <p:cNvSpPr/>
          <p:nvPr/>
        </p:nvSpPr>
        <p:spPr>
          <a:xfrm>
            <a:off x="1297057" y="3674552"/>
            <a:ext cx="2769635" cy="2230480"/>
          </a:xfrm>
          <a:custGeom>
            <a:avLst/>
            <a:gdLst>
              <a:gd name="connsiteX0" fmla="*/ 0 w 1835025"/>
              <a:gd name="connsiteY0" fmla="*/ 793756 h 1587512"/>
              <a:gd name="connsiteX1" fmla="*/ 453552 w 1835025"/>
              <a:gd name="connsiteY1" fmla="*/ 0 h 1587512"/>
              <a:gd name="connsiteX2" fmla="*/ 1381473 w 1835025"/>
              <a:gd name="connsiteY2" fmla="*/ 0 h 1587512"/>
              <a:gd name="connsiteX3" fmla="*/ 1835025 w 1835025"/>
              <a:gd name="connsiteY3" fmla="*/ 793756 h 1587512"/>
              <a:gd name="connsiteX4" fmla="*/ 1381473 w 1835025"/>
              <a:gd name="connsiteY4" fmla="*/ 1587512 h 1587512"/>
              <a:gd name="connsiteX5" fmla="*/ 453552 w 1835025"/>
              <a:gd name="connsiteY5" fmla="*/ 1587512 h 1587512"/>
              <a:gd name="connsiteX6" fmla="*/ 0 w 1835025"/>
              <a:gd name="connsiteY6" fmla="*/ 793756 h 1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025" h="1587512">
                <a:moveTo>
                  <a:pt x="0" y="793756"/>
                </a:moveTo>
                <a:lnTo>
                  <a:pt x="453552" y="0"/>
                </a:lnTo>
                <a:lnTo>
                  <a:pt x="1381473" y="0"/>
                </a:lnTo>
                <a:lnTo>
                  <a:pt x="1835025" y="793756"/>
                </a:lnTo>
                <a:lnTo>
                  <a:pt x="1381473" y="1587512"/>
                </a:lnTo>
                <a:lnTo>
                  <a:pt x="453552" y="1587512"/>
                </a:lnTo>
                <a:lnTo>
                  <a:pt x="0" y="793756"/>
                </a:lnTo>
                <a:close/>
              </a:path>
            </a:pathLst>
          </a:custGeom>
          <a:solidFill>
            <a:srgbClr val="00B050"/>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353633" tIns="312615" rIns="353633" bIns="312615" spcCol="1270" anchor="ctr"/>
          <a:lstStyle/>
          <a:p>
            <a:pPr algn="ctr" defTabSz="1733550">
              <a:lnSpc>
                <a:spcPct val="90000"/>
              </a:lnSpc>
              <a:spcAft>
                <a:spcPct val="35000"/>
              </a:spcAft>
              <a:defRPr/>
            </a:pPr>
            <a:r>
              <a:rPr lang="en-GB" sz="2000" b="1">
                <a:latin typeface="Calibri" panose="020F0502020204030204" pitchFamily="34" charset="0"/>
                <a:cs typeface="Calibri" panose="020F0502020204030204" pitchFamily="34" charset="0"/>
              </a:rPr>
              <a:t>Bootstrap</a:t>
            </a:r>
          </a:p>
        </p:txBody>
      </p:sp>
      <p:cxnSp>
        <p:nvCxnSpPr>
          <p:cNvPr id="17" name="Straight Arrow Connector 16">
            <a:extLst>
              <a:ext uri="{FF2B5EF4-FFF2-40B4-BE49-F238E27FC236}">
                <a16:creationId xmlns:a16="http://schemas.microsoft.com/office/drawing/2014/main" id="{E3C21593-546D-4BB2-2ED4-67B5E426B0EF}"/>
              </a:ext>
            </a:extLst>
          </p:cNvPr>
          <p:cNvCxnSpPr>
            <a:cxnSpLocks/>
          </p:cNvCxnSpPr>
          <p:nvPr/>
        </p:nvCxnSpPr>
        <p:spPr>
          <a:xfrm>
            <a:off x="3826565" y="2248384"/>
            <a:ext cx="914400" cy="415303"/>
          </a:xfrm>
          <a:prstGeom prst="straightConnector1">
            <a:avLst/>
          </a:prstGeom>
          <a:ln w="38100">
            <a:solidFill>
              <a:srgbClr val="00B0F0"/>
            </a:solidFill>
            <a:tailEnd type="triangle"/>
          </a:ln>
        </p:spPr>
        <p:style>
          <a:lnRef idx="1">
            <a:schemeClr val="accent3"/>
          </a:lnRef>
          <a:fillRef idx="0">
            <a:schemeClr val="accent3"/>
          </a:fillRef>
          <a:effectRef idx="0">
            <a:schemeClr val="accent3"/>
          </a:effectRef>
          <a:fontRef idx="minor">
            <a:schemeClr val="tx1"/>
          </a:fontRef>
        </p:style>
      </p:cxnSp>
      <p:cxnSp>
        <p:nvCxnSpPr>
          <p:cNvPr id="21" name="Straight Arrow Connector 20">
            <a:extLst>
              <a:ext uri="{FF2B5EF4-FFF2-40B4-BE49-F238E27FC236}">
                <a16:creationId xmlns:a16="http://schemas.microsoft.com/office/drawing/2014/main" id="{8B3A77B3-506E-EE6E-62A3-7908E96737D6}"/>
              </a:ext>
            </a:extLst>
          </p:cNvPr>
          <p:cNvCxnSpPr>
            <a:cxnSpLocks/>
          </p:cNvCxnSpPr>
          <p:nvPr/>
        </p:nvCxnSpPr>
        <p:spPr>
          <a:xfrm flipV="1">
            <a:off x="3677478" y="3878891"/>
            <a:ext cx="983974" cy="363631"/>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050A36-A6B3-9994-73A3-23F3B51E146D}"/>
              </a:ext>
            </a:extLst>
          </p:cNvPr>
          <p:cNvCxnSpPr>
            <a:cxnSpLocks/>
          </p:cNvCxnSpPr>
          <p:nvPr/>
        </p:nvCxnSpPr>
        <p:spPr>
          <a:xfrm flipH="1">
            <a:off x="7126357" y="2574235"/>
            <a:ext cx="705678" cy="404875"/>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AF3011A-9B81-3E31-FBEE-6F76BECCE90A}"/>
              </a:ext>
            </a:extLst>
          </p:cNvPr>
          <p:cNvCxnSpPr>
            <a:cxnSpLocks/>
          </p:cNvCxnSpPr>
          <p:nvPr/>
        </p:nvCxnSpPr>
        <p:spPr>
          <a:xfrm flipH="1" flipV="1">
            <a:off x="7026965" y="3878891"/>
            <a:ext cx="944218" cy="45457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41790158"/>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par>
                                <p:cTn id="11" presetID="3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1000" fill="hold"/>
                                        <p:tgtEl>
                                          <p:spTgt spid="6"/>
                                        </p:tgtEl>
                                        <p:attrNameLst>
                                          <p:attrName>ppt_w</p:attrName>
                                        </p:attrNameLst>
                                      </p:cBhvr>
                                      <p:tavLst>
                                        <p:tav tm="0">
                                          <p:val>
                                            <p:fltVal val="0"/>
                                          </p:val>
                                        </p:tav>
                                        <p:tav tm="100000">
                                          <p:val>
                                            <p:strVal val="#ppt_w"/>
                                          </p:val>
                                        </p:tav>
                                      </p:tavLst>
                                    </p:anim>
                                    <p:anim calcmode="lin" valueType="num">
                                      <p:cBhvr>
                                        <p:cTn id="14" dur="1000" fill="hold"/>
                                        <p:tgtEl>
                                          <p:spTgt spid="6"/>
                                        </p:tgtEl>
                                        <p:attrNameLst>
                                          <p:attrName>ppt_h</p:attrName>
                                        </p:attrNameLst>
                                      </p:cBhvr>
                                      <p:tavLst>
                                        <p:tav tm="0">
                                          <p:val>
                                            <p:fltVal val="0"/>
                                          </p:val>
                                        </p:tav>
                                        <p:tav tm="100000">
                                          <p:val>
                                            <p:strVal val="#ppt_h"/>
                                          </p:val>
                                        </p:tav>
                                      </p:tavLst>
                                    </p:anim>
                                    <p:anim calcmode="lin" valueType="num">
                                      <p:cBhvr>
                                        <p:cTn id="15" dur="1000" fill="hold"/>
                                        <p:tgtEl>
                                          <p:spTgt spid="6"/>
                                        </p:tgtEl>
                                        <p:attrNameLst>
                                          <p:attrName>style.rotation</p:attrName>
                                        </p:attrNameLst>
                                      </p:cBhvr>
                                      <p:tavLst>
                                        <p:tav tm="0">
                                          <p:val>
                                            <p:fltVal val="90"/>
                                          </p:val>
                                        </p:tav>
                                        <p:tav tm="100000">
                                          <p:val>
                                            <p:fltVal val="0"/>
                                          </p:val>
                                        </p:tav>
                                      </p:tavLst>
                                    </p:anim>
                                    <p:animEffect transition="in" filter="fade">
                                      <p:cBhvr>
                                        <p:cTn id="16" dur="1000"/>
                                        <p:tgtEl>
                                          <p:spTgt spid="6"/>
                                        </p:tgtEl>
                                      </p:cBhvr>
                                    </p:animEffect>
                                  </p:childTnLst>
                                </p:cTn>
                              </p:par>
                              <p:par>
                                <p:cTn id="17" presetID="3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1000" fill="hold"/>
                                        <p:tgtEl>
                                          <p:spTgt spid="7"/>
                                        </p:tgtEl>
                                        <p:attrNameLst>
                                          <p:attrName>ppt_w</p:attrName>
                                        </p:attrNameLst>
                                      </p:cBhvr>
                                      <p:tavLst>
                                        <p:tav tm="0">
                                          <p:val>
                                            <p:fltVal val="0"/>
                                          </p:val>
                                        </p:tav>
                                        <p:tav tm="100000">
                                          <p:val>
                                            <p:strVal val="#ppt_w"/>
                                          </p:val>
                                        </p:tav>
                                      </p:tavLst>
                                    </p:anim>
                                    <p:anim calcmode="lin" valueType="num">
                                      <p:cBhvr>
                                        <p:cTn id="20" dur="1000" fill="hold"/>
                                        <p:tgtEl>
                                          <p:spTgt spid="7"/>
                                        </p:tgtEl>
                                        <p:attrNameLst>
                                          <p:attrName>ppt_h</p:attrName>
                                        </p:attrNameLst>
                                      </p:cBhvr>
                                      <p:tavLst>
                                        <p:tav tm="0">
                                          <p:val>
                                            <p:fltVal val="0"/>
                                          </p:val>
                                        </p:tav>
                                        <p:tav tm="100000">
                                          <p:val>
                                            <p:strVal val="#ppt_h"/>
                                          </p:val>
                                        </p:tav>
                                      </p:tavLst>
                                    </p:anim>
                                    <p:anim calcmode="lin" valueType="num">
                                      <p:cBhvr>
                                        <p:cTn id="21" dur="1000" fill="hold"/>
                                        <p:tgtEl>
                                          <p:spTgt spid="7"/>
                                        </p:tgtEl>
                                        <p:attrNameLst>
                                          <p:attrName>style.rotation</p:attrName>
                                        </p:attrNameLst>
                                      </p:cBhvr>
                                      <p:tavLst>
                                        <p:tav tm="0">
                                          <p:val>
                                            <p:fltVal val="90"/>
                                          </p:val>
                                        </p:tav>
                                        <p:tav tm="100000">
                                          <p:val>
                                            <p:fltVal val="0"/>
                                          </p:val>
                                        </p:tav>
                                      </p:tavLst>
                                    </p:anim>
                                    <p:animEffect transition="in" filter="fade">
                                      <p:cBhvr>
                                        <p:cTn id="22" dur="1000"/>
                                        <p:tgtEl>
                                          <p:spTgt spid="7"/>
                                        </p:tgtEl>
                                      </p:cBhvr>
                                    </p:animEffect>
                                  </p:childTnLst>
                                </p:cTn>
                              </p:par>
                              <p:par>
                                <p:cTn id="23" presetID="3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p:cTn id="25" dur="1000" fill="hold"/>
                                        <p:tgtEl>
                                          <p:spTgt spid="8"/>
                                        </p:tgtEl>
                                        <p:attrNameLst>
                                          <p:attrName>ppt_w</p:attrName>
                                        </p:attrNameLst>
                                      </p:cBhvr>
                                      <p:tavLst>
                                        <p:tav tm="0">
                                          <p:val>
                                            <p:fltVal val="0"/>
                                          </p:val>
                                        </p:tav>
                                        <p:tav tm="100000">
                                          <p:val>
                                            <p:strVal val="#ppt_w"/>
                                          </p:val>
                                        </p:tav>
                                      </p:tavLst>
                                    </p:anim>
                                    <p:anim calcmode="lin" valueType="num">
                                      <p:cBhvr>
                                        <p:cTn id="26" dur="1000" fill="hold"/>
                                        <p:tgtEl>
                                          <p:spTgt spid="8"/>
                                        </p:tgtEl>
                                        <p:attrNameLst>
                                          <p:attrName>ppt_h</p:attrName>
                                        </p:attrNameLst>
                                      </p:cBhvr>
                                      <p:tavLst>
                                        <p:tav tm="0">
                                          <p:val>
                                            <p:fltVal val="0"/>
                                          </p:val>
                                        </p:tav>
                                        <p:tav tm="100000">
                                          <p:val>
                                            <p:strVal val="#ppt_h"/>
                                          </p:val>
                                        </p:tav>
                                      </p:tavLst>
                                    </p:anim>
                                    <p:anim calcmode="lin" valueType="num">
                                      <p:cBhvr>
                                        <p:cTn id="27" dur="1000" fill="hold"/>
                                        <p:tgtEl>
                                          <p:spTgt spid="8"/>
                                        </p:tgtEl>
                                        <p:attrNameLst>
                                          <p:attrName>style.rotation</p:attrName>
                                        </p:attrNameLst>
                                      </p:cBhvr>
                                      <p:tavLst>
                                        <p:tav tm="0">
                                          <p:val>
                                            <p:fltVal val="90"/>
                                          </p:val>
                                        </p:tav>
                                        <p:tav tm="100000">
                                          <p:val>
                                            <p:fltVal val="0"/>
                                          </p:val>
                                        </p:tav>
                                      </p:tavLst>
                                    </p:anim>
                                    <p:animEffect transition="in" filter="fade">
                                      <p:cBhvr>
                                        <p:cTn id="28" dur="1000"/>
                                        <p:tgtEl>
                                          <p:spTgt spid="8"/>
                                        </p:tgtEl>
                                      </p:cBhvr>
                                    </p:animEffect>
                                  </p:childTnLst>
                                </p:cTn>
                              </p:par>
                              <p:par>
                                <p:cTn id="29" presetID="3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1000" fill="hold"/>
                                        <p:tgtEl>
                                          <p:spTgt spid="9"/>
                                        </p:tgtEl>
                                        <p:attrNameLst>
                                          <p:attrName>ppt_w</p:attrName>
                                        </p:attrNameLst>
                                      </p:cBhvr>
                                      <p:tavLst>
                                        <p:tav tm="0">
                                          <p:val>
                                            <p:fltVal val="0"/>
                                          </p:val>
                                        </p:tav>
                                        <p:tav tm="100000">
                                          <p:val>
                                            <p:strVal val="#ppt_w"/>
                                          </p:val>
                                        </p:tav>
                                      </p:tavLst>
                                    </p:anim>
                                    <p:anim calcmode="lin" valueType="num">
                                      <p:cBhvr>
                                        <p:cTn id="32" dur="1000" fill="hold"/>
                                        <p:tgtEl>
                                          <p:spTgt spid="9"/>
                                        </p:tgtEl>
                                        <p:attrNameLst>
                                          <p:attrName>ppt_h</p:attrName>
                                        </p:attrNameLst>
                                      </p:cBhvr>
                                      <p:tavLst>
                                        <p:tav tm="0">
                                          <p:val>
                                            <p:fltVal val="0"/>
                                          </p:val>
                                        </p:tav>
                                        <p:tav tm="100000">
                                          <p:val>
                                            <p:strVal val="#ppt_h"/>
                                          </p:val>
                                        </p:tav>
                                      </p:tavLst>
                                    </p:anim>
                                    <p:anim calcmode="lin" valueType="num">
                                      <p:cBhvr>
                                        <p:cTn id="33" dur="1000" fill="hold"/>
                                        <p:tgtEl>
                                          <p:spTgt spid="9"/>
                                        </p:tgtEl>
                                        <p:attrNameLst>
                                          <p:attrName>style.rotation</p:attrName>
                                        </p:attrNameLst>
                                      </p:cBhvr>
                                      <p:tavLst>
                                        <p:tav tm="0">
                                          <p:val>
                                            <p:fltVal val="90"/>
                                          </p:val>
                                        </p:tav>
                                        <p:tav tm="100000">
                                          <p:val>
                                            <p:fltVal val="0"/>
                                          </p:val>
                                        </p:tav>
                                      </p:tavLst>
                                    </p:anim>
                                    <p:animEffect transition="in" filter="fade">
                                      <p:cBhvr>
                                        <p:cTn id="34" dur="1000"/>
                                        <p:tgtEl>
                                          <p:spTgt spid="9"/>
                                        </p:tgtEl>
                                      </p:cBhvr>
                                    </p:animEffect>
                                  </p:childTnLst>
                                </p:cTn>
                              </p:par>
                              <p:par>
                                <p:cTn id="35" presetID="31"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p:cTn id="37" dur="1000" fill="hold"/>
                                        <p:tgtEl>
                                          <p:spTgt spid="14"/>
                                        </p:tgtEl>
                                        <p:attrNameLst>
                                          <p:attrName>ppt_w</p:attrName>
                                        </p:attrNameLst>
                                      </p:cBhvr>
                                      <p:tavLst>
                                        <p:tav tm="0">
                                          <p:val>
                                            <p:fltVal val="0"/>
                                          </p:val>
                                        </p:tav>
                                        <p:tav tm="100000">
                                          <p:val>
                                            <p:strVal val="#ppt_w"/>
                                          </p:val>
                                        </p:tav>
                                      </p:tavLst>
                                    </p:anim>
                                    <p:anim calcmode="lin" valueType="num">
                                      <p:cBhvr>
                                        <p:cTn id="38" dur="1000" fill="hold"/>
                                        <p:tgtEl>
                                          <p:spTgt spid="14"/>
                                        </p:tgtEl>
                                        <p:attrNameLst>
                                          <p:attrName>ppt_h</p:attrName>
                                        </p:attrNameLst>
                                      </p:cBhvr>
                                      <p:tavLst>
                                        <p:tav tm="0">
                                          <p:val>
                                            <p:fltVal val="0"/>
                                          </p:val>
                                        </p:tav>
                                        <p:tav tm="100000">
                                          <p:val>
                                            <p:strVal val="#ppt_h"/>
                                          </p:val>
                                        </p:tav>
                                      </p:tavLst>
                                    </p:anim>
                                    <p:anim calcmode="lin" valueType="num">
                                      <p:cBhvr>
                                        <p:cTn id="39" dur="1000" fill="hold"/>
                                        <p:tgtEl>
                                          <p:spTgt spid="14"/>
                                        </p:tgtEl>
                                        <p:attrNameLst>
                                          <p:attrName>style.rotation</p:attrName>
                                        </p:attrNameLst>
                                      </p:cBhvr>
                                      <p:tavLst>
                                        <p:tav tm="0">
                                          <p:val>
                                            <p:fltVal val="90"/>
                                          </p:val>
                                        </p:tav>
                                        <p:tav tm="100000">
                                          <p:val>
                                            <p:fltVal val="0"/>
                                          </p:val>
                                        </p:tav>
                                      </p:tavLst>
                                    </p:anim>
                                    <p:animEffect transition="in" filter="fade">
                                      <p:cBhvr>
                                        <p:cTn id="40"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3367709" y="636373"/>
            <a:ext cx="5456582" cy="575422"/>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CÔNG NGHỆ THIẾT KẾ WEBSITE</a:t>
            </a:r>
            <a:endParaRPr lang="vi-VN" altLang="vi-VN" sz="2600" b="1">
              <a:solidFill>
                <a:srgbClr val="004195"/>
              </a:solidFill>
              <a:latin typeface="Noto Sans"/>
              <a:ea typeface="Noto Sans"/>
              <a:cs typeface="+mn-ea"/>
              <a:sym typeface="Source Han Serif SC" panose="02020700000000000000" pitchFamily="18" charset="-122"/>
            </a:endParaRPr>
          </a:p>
        </p:txBody>
      </p:sp>
      <p:sp>
        <p:nvSpPr>
          <p:cNvPr id="2" name="Rectangle 3">
            <a:extLst>
              <a:ext uri="{FF2B5EF4-FFF2-40B4-BE49-F238E27FC236}">
                <a16:creationId xmlns:a16="http://schemas.microsoft.com/office/drawing/2014/main" id="{40F55A01-C850-6C75-AF67-8A4126D25231}"/>
              </a:ext>
            </a:extLst>
          </p:cNvPr>
          <p:cNvSpPr txBox="1">
            <a:spLocks noChangeArrowheads="1"/>
          </p:cNvSpPr>
          <p:nvPr/>
        </p:nvSpPr>
        <p:spPr bwMode="auto">
          <a:xfrm>
            <a:off x="762000" y="1341438"/>
            <a:ext cx="10459278" cy="477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indent="-400050">
              <a:spcBef>
                <a:spcPct val="20000"/>
              </a:spcBef>
              <a:buClr>
                <a:schemeClr val="tx2"/>
              </a:buClr>
              <a:buFont typeface="Wingdings" panose="05000000000000000000" pitchFamily="2" charset="2"/>
              <a:buChar char="§"/>
              <a:defRPr sz="2800">
                <a:solidFill>
                  <a:schemeClr val="tx1"/>
                </a:solidFill>
                <a:latin typeface="Arial" panose="020B0604020202020204" pitchFamily="34" charset="0"/>
              </a:defRPr>
            </a:lvl1pPr>
            <a:lvl2pPr marL="342900" indent="-342900">
              <a:spcBef>
                <a:spcPct val="20000"/>
              </a:spcBef>
              <a:buClr>
                <a:schemeClr val="accent1"/>
              </a:buClr>
              <a:buFont typeface="Wingdings" panose="05000000000000000000" pitchFamily="2" charset="2"/>
              <a:buChar char="§"/>
              <a:defRPr sz="2400">
                <a:solidFill>
                  <a:schemeClr val="tx1"/>
                </a:solidFill>
                <a:latin typeface="Arial" panose="020B0604020202020204" pitchFamily="34" charset="0"/>
              </a:defRPr>
            </a:lvl2pPr>
            <a:lvl3pPr marL="1143000" indent="-228600">
              <a:spcBef>
                <a:spcPct val="20000"/>
              </a:spcBef>
              <a:buClr>
                <a:schemeClr val="tx1"/>
              </a:buClr>
              <a:buChar char="•"/>
              <a:defRPr sz="2000">
                <a:solidFill>
                  <a:schemeClr val="tx1"/>
                </a:solidFill>
                <a:latin typeface="Arial" panose="020B0604020202020204" pitchFamily="34" charset="0"/>
              </a:defRPr>
            </a:lvl3pPr>
            <a:lvl4pPr marL="1600200" indent="-228600">
              <a:spcBef>
                <a:spcPct val="20000"/>
              </a:spcBef>
              <a:buChar char="–"/>
              <a:defRPr>
                <a:solidFill>
                  <a:schemeClr val="tx1"/>
                </a:solidFill>
                <a:latin typeface="Arial" panose="020B0604020202020204" pitchFamily="34" charset="0"/>
              </a:defRPr>
            </a:lvl4pPr>
            <a:lvl5pPr marL="2057400" indent="-22860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lnSpc>
                <a:spcPct val="150000"/>
              </a:lnSpc>
              <a:spcBef>
                <a:spcPts val="0"/>
              </a:spcBef>
              <a:buFont typeface="Wingdings" panose="05000000000000000000" pitchFamily="2" charset="2"/>
              <a:buChar char="v"/>
            </a:pPr>
            <a:r>
              <a:rPr lang="en-US" altLang="vi-VN" sz="2200" b="1" u="sng">
                <a:latin typeface="Times New Roman" panose="02020603050405020304" pitchFamily="18" charset="0"/>
                <a:cs typeface="Times New Roman" panose="02020603050405020304" pitchFamily="18" charset="0"/>
              </a:rPr>
              <a:t>Mô hình MVC </a:t>
            </a:r>
          </a:p>
          <a:p>
            <a:pPr lvl="2">
              <a:lnSpc>
                <a:spcPct val="150000"/>
              </a:lnSpc>
              <a:spcBef>
                <a:spcPts val="0"/>
              </a:spcBef>
              <a:buClr>
                <a:schemeClr val="tx2"/>
              </a:buClr>
              <a:buFont typeface="Arial" panose="020B0604020202020204" pitchFamily="34" charset="0"/>
              <a:buChar char="•"/>
            </a:pPr>
            <a:r>
              <a:rPr lang="en-US" altLang="vi-VN" sz="1800">
                <a:latin typeface="Times New Roman" panose="02020603050405020304" pitchFamily="18" charset="0"/>
                <a:cs typeface="Times New Roman" panose="02020603050405020304" pitchFamily="18" charset="0"/>
              </a:rPr>
              <a:t> MVC (viết tắt của Model-View-Controller) là một mẫu kiến trúc phần mềm để tạo lập giao diện người dùng trên máy tính. MVC chia một ứng dụng thành ba phần tương tác được với nhau để tách biệt giữa cách thức mà thông tin được xử lý nội hàm và phần thông tin được trình bày và tiếp nhận từ phía người dùng.</a:t>
            </a:r>
          </a:p>
          <a:p>
            <a:pPr lvl="2">
              <a:lnSpc>
                <a:spcPct val="150000"/>
              </a:lnSpc>
              <a:spcBef>
                <a:spcPts val="0"/>
              </a:spcBef>
              <a:buClr>
                <a:schemeClr val="tx2"/>
              </a:buClr>
              <a:buFont typeface="Arial" panose="020B0604020202020204" pitchFamily="34" charset="0"/>
              <a:buChar char="•"/>
            </a:pPr>
            <a:r>
              <a:rPr lang="vi-VN" altLang="vi-VN" sz="1800">
                <a:latin typeface="Times New Roman" panose="02020603050405020304" pitchFamily="18" charset="0"/>
                <a:cs typeface="Times New Roman" panose="02020603050405020304" pitchFamily="18" charset="0"/>
              </a:rPr>
              <a:t>Trong mẫu Model-View-Controller, mô hình (model) tượng trưng cho dữ liệu của chương trình phần mềm. Tầm nhìn hay khung nhìn (view) bao gồm các thành phần của giao diện người dùng. Bộ kiểm tra hay bộ điều chỉnh (controller) quản lý sự trao đổi giữa dữ liệu và các nguyên tắc nghề nghiệp trong các thao tác liên quan đến mô hình.</a:t>
            </a:r>
            <a:endParaRPr lang="en-US" altLang="vi-VN" sz="1800">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493756970"/>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80">
                                          <p:stCondLst>
                                            <p:cond delay="0"/>
                                          </p:stCondLst>
                                        </p:cTn>
                                        <p:tgtEl>
                                          <p:spTgt spid="2">
                                            <p:txEl>
                                              <p:pRg st="0" end="0"/>
                                            </p:txEl>
                                          </p:spTgt>
                                        </p:tgtEl>
                                      </p:cBhvr>
                                    </p:animEffect>
                                    <p:anim calcmode="lin" valueType="num">
                                      <p:cBhvr>
                                        <p:cTn id="8" dur="1822" tmFilter="0,0; 0.14,0.36; 0.43,0.73; 0.71,0.91; 1.0,1.0">
                                          <p:stCondLst>
                                            <p:cond delay="0"/>
                                          </p:stCondLst>
                                        </p:cTn>
                                        <p:tgtEl>
                                          <p:spTgt spid="2">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xEl>
                                              <p:pRg st="0" end="0"/>
                                            </p:txEl>
                                          </p:spTgt>
                                        </p:tgtEl>
                                      </p:cBhvr>
                                      <p:to x="100000" y="60000"/>
                                    </p:animScale>
                                    <p:animScale>
                                      <p:cBhvr>
                                        <p:cTn id="14" dur="166" decel="50000">
                                          <p:stCondLst>
                                            <p:cond delay="676"/>
                                          </p:stCondLst>
                                        </p:cTn>
                                        <p:tgtEl>
                                          <p:spTgt spid="2">
                                            <p:txEl>
                                              <p:pRg st="0" end="0"/>
                                            </p:txEl>
                                          </p:spTgt>
                                        </p:tgtEl>
                                      </p:cBhvr>
                                      <p:to x="100000" y="100000"/>
                                    </p:animScale>
                                    <p:animScale>
                                      <p:cBhvr>
                                        <p:cTn id="15" dur="26">
                                          <p:stCondLst>
                                            <p:cond delay="1312"/>
                                          </p:stCondLst>
                                        </p:cTn>
                                        <p:tgtEl>
                                          <p:spTgt spid="2">
                                            <p:txEl>
                                              <p:pRg st="0" end="0"/>
                                            </p:txEl>
                                          </p:spTgt>
                                        </p:tgtEl>
                                      </p:cBhvr>
                                      <p:to x="100000" y="80000"/>
                                    </p:animScale>
                                    <p:animScale>
                                      <p:cBhvr>
                                        <p:cTn id="16" dur="166" decel="50000">
                                          <p:stCondLst>
                                            <p:cond delay="1338"/>
                                          </p:stCondLst>
                                        </p:cTn>
                                        <p:tgtEl>
                                          <p:spTgt spid="2">
                                            <p:txEl>
                                              <p:pRg st="0" end="0"/>
                                            </p:txEl>
                                          </p:spTgt>
                                        </p:tgtEl>
                                      </p:cBhvr>
                                      <p:to x="100000" y="100000"/>
                                    </p:animScale>
                                    <p:animScale>
                                      <p:cBhvr>
                                        <p:cTn id="17" dur="26">
                                          <p:stCondLst>
                                            <p:cond delay="1642"/>
                                          </p:stCondLst>
                                        </p:cTn>
                                        <p:tgtEl>
                                          <p:spTgt spid="2">
                                            <p:txEl>
                                              <p:pRg st="0" end="0"/>
                                            </p:txEl>
                                          </p:spTgt>
                                        </p:tgtEl>
                                      </p:cBhvr>
                                      <p:to x="100000" y="90000"/>
                                    </p:animScale>
                                    <p:animScale>
                                      <p:cBhvr>
                                        <p:cTn id="18" dur="166" decel="50000">
                                          <p:stCondLst>
                                            <p:cond delay="1668"/>
                                          </p:stCondLst>
                                        </p:cTn>
                                        <p:tgtEl>
                                          <p:spTgt spid="2">
                                            <p:txEl>
                                              <p:pRg st="0" end="0"/>
                                            </p:txEl>
                                          </p:spTgt>
                                        </p:tgtEl>
                                      </p:cBhvr>
                                      <p:to x="100000" y="100000"/>
                                    </p:animScale>
                                    <p:animScale>
                                      <p:cBhvr>
                                        <p:cTn id="19" dur="26">
                                          <p:stCondLst>
                                            <p:cond delay="1808"/>
                                          </p:stCondLst>
                                        </p:cTn>
                                        <p:tgtEl>
                                          <p:spTgt spid="2">
                                            <p:txEl>
                                              <p:pRg st="0" end="0"/>
                                            </p:txEl>
                                          </p:spTgt>
                                        </p:tgtEl>
                                      </p:cBhvr>
                                      <p:to x="100000" y="95000"/>
                                    </p:animScale>
                                    <p:animScale>
                                      <p:cBhvr>
                                        <p:cTn id="20" dur="166" decel="50000">
                                          <p:stCondLst>
                                            <p:cond delay="1834"/>
                                          </p:stCondLst>
                                        </p:cTn>
                                        <p:tgtEl>
                                          <p:spTgt spid="2">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2">
                                            <p:txEl>
                                              <p:pRg st="1" end="1"/>
                                            </p:txEl>
                                          </p:spTgt>
                                        </p:tgtEl>
                                        <p:attrNameLst>
                                          <p:attrName>style.visibility</p:attrName>
                                        </p:attrNameLst>
                                      </p:cBhvr>
                                      <p:to>
                                        <p:strVal val="visible"/>
                                      </p:to>
                                    </p:set>
                                    <p:animEffect transition="in" filter="fade">
                                      <p:cBhvr>
                                        <p:cTn id="25" dur="1000"/>
                                        <p:tgtEl>
                                          <p:spTgt spid="2">
                                            <p:txEl>
                                              <p:pRg st="1" end="1"/>
                                            </p:txEl>
                                          </p:spTgt>
                                        </p:tgtEl>
                                      </p:cBhvr>
                                    </p:animEffect>
                                    <p:anim calcmode="lin" valueType="num">
                                      <p:cBhvr>
                                        <p:cTn id="26"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27"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2">
                                            <p:txEl>
                                              <p:pRg st="2" end="2"/>
                                            </p:txEl>
                                          </p:spTgt>
                                        </p:tgtEl>
                                        <p:attrNameLst>
                                          <p:attrName>style.visibility</p:attrName>
                                        </p:attrNameLst>
                                      </p:cBhvr>
                                      <p:to>
                                        <p:strVal val="visible"/>
                                      </p:to>
                                    </p:set>
                                    <p:animEffect transition="in" filter="fade">
                                      <p:cBhvr>
                                        <p:cTn id="32" dur="1000"/>
                                        <p:tgtEl>
                                          <p:spTgt spid="2">
                                            <p:txEl>
                                              <p:pRg st="2" end="2"/>
                                            </p:txEl>
                                          </p:spTgt>
                                        </p:tgtEl>
                                      </p:cBhvr>
                                    </p:animEffect>
                                    <p:anim calcmode="lin" valueType="num">
                                      <p:cBhvr>
                                        <p:cTn id="33"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34"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椭圆 5">
            <a:extLst>
              <a:ext uri="{FF2B5EF4-FFF2-40B4-BE49-F238E27FC236}">
                <a16:creationId xmlns:a16="http://schemas.microsoft.com/office/drawing/2014/main" id="{6C5E6270-26FB-47E2-9114-EB81508C45AE}"/>
              </a:ext>
            </a:extLst>
          </p:cNvPr>
          <p:cNvSpPr/>
          <p:nvPr/>
        </p:nvSpPr>
        <p:spPr>
          <a:xfrm>
            <a:off x="3243737" y="569502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椭圆 6">
            <a:extLst>
              <a:ext uri="{FF2B5EF4-FFF2-40B4-BE49-F238E27FC236}">
                <a16:creationId xmlns:a16="http://schemas.microsoft.com/office/drawing/2014/main" id="{60A3DE71-09BB-4D17-B554-59A65FBECDEC}"/>
              </a:ext>
            </a:extLst>
          </p:cNvPr>
          <p:cNvSpPr/>
          <p:nvPr/>
        </p:nvSpPr>
        <p:spPr>
          <a:xfrm>
            <a:off x="566544" y="180845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 name="椭圆 7">
            <a:extLst>
              <a:ext uri="{FF2B5EF4-FFF2-40B4-BE49-F238E27FC236}">
                <a16:creationId xmlns:a16="http://schemas.microsoft.com/office/drawing/2014/main" id="{42BB076E-19ED-4A80-A65B-7DC8105846BD}"/>
              </a:ext>
            </a:extLst>
          </p:cNvPr>
          <p:cNvSpPr/>
          <p:nvPr/>
        </p:nvSpPr>
        <p:spPr>
          <a:xfrm>
            <a:off x="10099832" y="4661880"/>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9" name="椭圆 8">
            <a:extLst>
              <a:ext uri="{FF2B5EF4-FFF2-40B4-BE49-F238E27FC236}">
                <a16:creationId xmlns:a16="http://schemas.microsoft.com/office/drawing/2014/main" id="{4301B9C5-B076-4F9C-A26E-A66B97A133F6}"/>
              </a:ext>
            </a:extLst>
          </p:cNvPr>
          <p:cNvSpPr/>
          <p:nvPr/>
        </p:nvSpPr>
        <p:spPr>
          <a:xfrm>
            <a:off x="8865359" y="43050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0" name="文本框 19"/>
          <p:cNvSpPr txBox="1"/>
          <p:nvPr/>
        </p:nvSpPr>
        <p:spPr>
          <a:xfrm>
            <a:off x="1114290" y="2771342"/>
            <a:ext cx="10405163" cy="1540103"/>
          </a:xfrm>
          <a:prstGeom prst="rect">
            <a:avLst/>
          </a:prstGeom>
          <a:noFill/>
        </p:spPr>
        <p:txBody>
          <a:bodyPr wrap="square" rtlCol="0">
            <a:noAutofit/>
          </a:bodyPr>
          <a:lstStyle/>
          <a:p>
            <a:pPr algn="ctr"/>
            <a:r>
              <a:rPr lang="en-US" altLang="vi-VN" sz="4000" b="1">
                <a:solidFill>
                  <a:schemeClr val="bg1"/>
                </a:solidFill>
                <a:latin typeface="Times New Roman" panose="02020603050405020304" pitchFamily="18" charset="0"/>
                <a:ea typeface="Noto Sans"/>
                <a:cs typeface="Times New Roman" panose="02020603050405020304" pitchFamily="18" charset="0"/>
                <a:sym typeface="Source Han Serif SC" panose="02020700000000000000" pitchFamily="18" charset="-122"/>
              </a:rPr>
              <a:t>Phân tích thiết kế hệ thống</a:t>
            </a:r>
            <a:endParaRPr lang="vi-VN" altLang="vi-VN" sz="2800" b="1">
              <a:solidFill>
                <a:schemeClr val="bg1"/>
              </a:solidFill>
              <a:latin typeface="Times New Roman" panose="02020603050405020304" pitchFamily="18" charset="0"/>
              <a:ea typeface="Noto Sans"/>
              <a:cs typeface="Times New Roman" panose="02020603050405020304" pitchFamily="18" charset="0"/>
              <a:sym typeface="Source Han Serif SC" panose="02020700000000000000" pitchFamily="18" charset="-122"/>
            </a:endParaRPr>
          </a:p>
        </p:txBody>
      </p:sp>
      <p:sp>
        <p:nvSpPr>
          <p:cNvPr id="43" name="文本框 42"/>
          <p:cNvSpPr txBox="1"/>
          <p:nvPr/>
        </p:nvSpPr>
        <p:spPr>
          <a:xfrm>
            <a:off x="3100669" y="1701109"/>
            <a:ext cx="6093228" cy="701040"/>
          </a:xfrm>
          <a:prstGeom prst="rect">
            <a:avLst/>
          </a:prstGeom>
          <a:noFill/>
        </p:spPr>
        <p:txBody>
          <a:bodyPr wrap="square">
            <a:normAutofit/>
          </a:bodyPr>
          <a:lstStyle/>
          <a:p>
            <a:pPr algn="ctr"/>
            <a:r>
              <a:rPr lang="vi-VN" altLang="vi-VN" sz="4000" b="1">
                <a:solidFill>
                  <a:schemeClr val="bg1"/>
                </a:solidFill>
                <a:latin typeface="Noto Sans"/>
                <a:ea typeface="Noto Sans"/>
                <a:cs typeface="+mn-ea"/>
                <a:sym typeface="Source Han Serif SC" panose="02020700000000000000" pitchFamily="18" charset="-122"/>
              </a:rPr>
              <a:t>PHẦN 01</a:t>
            </a:r>
          </a:p>
        </p:txBody>
      </p:sp>
    </p:spTree>
    <p:extLst>
      <p:ext uri="{BB962C8B-B14F-4D97-AF65-F5344CB8AC3E}">
        <p14:creationId xmlns:p14="http://schemas.microsoft.com/office/powerpoint/2010/main" val="1444635092"/>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2922104" y="577516"/>
            <a:ext cx="6221896" cy="863657"/>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KHẢO SÁT YÊU CẦU VỀ CHỨC NĂNG</a:t>
            </a:r>
            <a:endParaRPr lang="vi-VN" altLang="vi-VN" sz="2600" b="1">
              <a:solidFill>
                <a:srgbClr val="004195"/>
              </a:solidFill>
              <a:latin typeface="Noto Sans"/>
              <a:ea typeface="Noto Sans"/>
              <a:cs typeface="+mn-ea"/>
              <a:sym typeface="Source Han Serif SC" panose="02020700000000000000" pitchFamily="18" charset="-122"/>
            </a:endParaRPr>
          </a:p>
        </p:txBody>
      </p:sp>
      <p:sp>
        <p:nvSpPr>
          <p:cNvPr id="2" name="Rectangle 3">
            <a:extLst>
              <a:ext uri="{FF2B5EF4-FFF2-40B4-BE49-F238E27FC236}">
                <a16:creationId xmlns:a16="http://schemas.microsoft.com/office/drawing/2014/main" id="{40F55A01-C850-6C75-AF67-8A4126D25231}"/>
              </a:ext>
            </a:extLst>
          </p:cNvPr>
          <p:cNvSpPr txBox="1">
            <a:spLocks noChangeArrowheads="1"/>
          </p:cNvSpPr>
          <p:nvPr/>
        </p:nvSpPr>
        <p:spPr bwMode="auto">
          <a:xfrm>
            <a:off x="761999" y="1341438"/>
            <a:ext cx="10886661" cy="477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indent="-400050">
              <a:spcBef>
                <a:spcPct val="20000"/>
              </a:spcBef>
              <a:buClr>
                <a:schemeClr val="tx2"/>
              </a:buClr>
              <a:buFont typeface="Wingdings" panose="05000000000000000000" pitchFamily="2" charset="2"/>
              <a:buChar char="§"/>
              <a:defRPr sz="2800">
                <a:solidFill>
                  <a:schemeClr val="tx1"/>
                </a:solidFill>
                <a:latin typeface="Arial" panose="020B0604020202020204" pitchFamily="34" charset="0"/>
              </a:defRPr>
            </a:lvl1pPr>
            <a:lvl2pPr marL="342900" indent="-342900">
              <a:spcBef>
                <a:spcPct val="20000"/>
              </a:spcBef>
              <a:buClr>
                <a:schemeClr val="accent1"/>
              </a:buClr>
              <a:buFont typeface="Wingdings" panose="05000000000000000000" pitchFamily="2" charset="2"/>
              <a:buChar char="§"/>
              <a:defRPr sz="2400">
                <a:solidFill>
                  <a:schemeClr val="tx1"/>
                </a:solidFill>
                <a:latin typeface="Arial" panose="020B0604020202020204" pitchFamily="34" charset="0"/>
              </a:defRPr>
            </a:lvl2pPr>
            <a:lvl3pPr marL="1143000" indent="-228600">
              <a:spcBef>
                <a:spcPct val="20000"/>
              </a:spcBef>
              <a:buClr>
                <a:schemeClr val="tx1"/>
              </a:buClr>
              <a:buChar char="•"/>
              <a:defRPr sz="2000">
                <a:solidFill>
                  <a:schemeClr val="tx1"/>
                </a:solidFill>
                <a:latin typeface="Arial" panose="020B0604020202020204" pitchFamily="34" charset="0"/>
              </a:defRPr>
            </a:lvl3pPr>
            <a:lvl4pPr marL="1600200" indent="-228600">
              <a:spcBef>
                <a:spcPct val="20000"/>
              </a:spcBef>
              <a:buChar char="–"/>
              <a:defRPr>
                <a:solidFill>
                  <a:schemeClr val="tx1"/>
                </a:solidFill>
                <a:latin typeface="Arial" panose="020B0604020202020204" pitchFamily="34" charset="0"/>
              </a:defRPr>
            </a:lvl4pPr>
            <a:lvl5pPr marL="2057400" indent="-22860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lvl="1">
              <a:lnSpc>
                <a:spcPct val="150000"/>
              </a:lnSpc>
              <a:buClr>
                <a:schemeClr val="tx2"/>
              </a:buClr>
              <a:buFont typeface="Wingdings" panose="05000000000000000000" pitchFamily="2" charset="2"/>
              <a:buChar char="v"/>
              <a:defRPr/>
            </a:pPr>
            <a:r>
              <a:rPr lang="en-US" sz="1800" b="1">
                <a:latin typeface="Times New Roman" panose="02020603050405020304" pitchFamily="18" charset="0"/>
                <a:cs typeface="Times New Roman" panose="02020603050405020304" pitchFamily="18" charset="0"/>
              </a:rPr>
              <a:t> </a:t>
            </a:r>
            <a:r>
              <a:rPr lang="en-US" sz="2200" b="1" u="sng">
                <a:latin typeface="Times New Roman" panose="02020603050405020304" pitchFamily="18" charset="0"/>
                <a:cs typeface="Times New Roman" panose="02020603050405020304" pitchFamily="18" charset="0"/>
              </a:rPr>
              <a:t>Người dùng</a:t>
            </a: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Tạo tài khoản và quản lý thông tin tài khoản.</a:t>
            </a: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Theo</a:t>
            </a:r>
            <a:r>
              <a:rPr lang="vi-VN" sz="1800">
                <a:latin typeface="Times New Roman" panose="02020603050405020304" pitchFamily="18" charset="0"/>
                <a:cs typeface="Times New Roman" panose="02020603050405020304" pitchFamily="18" charset="0"/>
              </a:rPr>
              <a:t> dõi đơn h</a:t>
            </a:r>
            <a:r>
              <a:rPr lang="en-US" sz="1800">
                <a:latin typeface="Times New Roman" panose="02020603050405020304" pitchFamily="18" charset="0"/>
                <a:cs typeface="Times New Roman" panose="02020603050405020304" pitchFamily="18" charset="0"/>
              </a:rPr>
              <a:t>à</a:t>
            </a:r>
            <a:r>
              <a:rPr lang="vi-VN" sz="1800">
                <a:latin typeface="Times New Roman" panose="02020603050405020304" pitchFamily="18" charset="0"/>
                <a:cs typeface="Times New Roman" panose="02020603050405020304" pitchFamily="18" charset="0"/>
              </a:rPr>
              <a:t>ng</a:t>
            </a:r>
            <a:r>
              <a:rPr lang="en-US" sz="1800">
                <a:latin typeface="Times New Roman" panose="02020603050405020304" pitchFamily="18" charset="0"/>
                <a:cs typeface="Times New Roman" panose="02020603050405020304" pitchFamily="18" charset="0"/>
              </a:rPr>
              <a:t>.</a:t>
            </a: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Hỗ trợ bảo mật tìm lại tài khoản quên mật khẩu qua email</a:t>
            </a: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Cho phép người dùng có thể xem thông tin sản phẩm (giá cả, hình ảnh, mô tả, nội dung…)</a:t>
            </a: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Người</a:t>
            </a:r>
            <a:r>
              <a:rPr lang="vi-VN" sz="1800">
                <a:latin typeface="Times New Roman" panose="02020603050405020304" pitchFamily="18" charset="0"/>
                <a:cs typeface="Times New Roman" panose="02020603050405020304" pitchFamily="18" charset="0"/>
              </a:rPr>
              <a:t> dùng có thể đọc tin tức về sản phẩm, …</a:t>
            </a:r>
            <a:endParaRPr lang="en-US" sz="1800">
              <a:latin typeface="Times New Roman" panose="02020603050405020304" pitchFamily="18" charset="0"/>
              <a:cs typeface="Times New Roman" panose="02020603050405020304" pitchFamily="18" charset="0"/>
            </a:endParaRP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Tìm kiếm sản phẩm theo tên sản phẩm hoặc danh mục sản phẩm, lọc sản phẩm theo giá cả</a:t>
            </a:r>
            <a:r>
              <a:rPr lang="vi-VN" sz="1800">
                <a:latin typeface="Times New Roman" panose="02020603050405020304" pitchFamily="18" charset="0"/>
                <a:cs typeface="Times New Roman" panose="02020603050405020304" pitchFamily="18" charset="0"/>
              </a:rPr>
              <a:t>, theo đánh giá sao</a:t>
            </a:r>
            <a:endParaRPr lang="en-US" sz="1800">
              <a:latin typeface="Times New Roman" panose="02020603050405020304" pitchFamily="18" charset="0"/>
              <a:cs typeface="Times New Roman" panose="02020603050405020304" pitchFamily="18" charset="0"/>
            </a:endParaRP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Đánh giá sản phẩm.</a:t>
            </a: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Mua</a:t>
            </a:r>
            <a:r>
              <a:rPr lang="vi-VN" sz="1800">
                <a:latin typeface="Times New Roman" panose="02020603050405020304" pitchFamily="18" charset="0"/>
                <a:cs typeface="Times New Roman" panose="02020603050405020304" pitchFamily="18" charset="0"/>
              </a:rPr>
              <a:t> sản phẩm và đặt h</a:t>
            </a:r>
            <a:r>
              <a:rPr lang="en-US" sz="1800">
                <a:latin typeface="Times New Roman" panose="02020603050405020304" pitchFamily="18" charset="0"/>
                <a:cs typeface="Times New Roman" panose="02020603050405020304" pitchFamily="18" charset="0"/>
              </a:rPr>
              <a:t>à</a:t>
            </a:r>
            <a:r>
              <a:rPr lang="vi-VN" sz="1800">
                <a:latin typeface="Times New Roman" panose="02020603050405020304" pitchFamily="18" charset="0"/>
                <a:cs typeface="Times New Roman" panose="02020603050405020304" pitchFamily="18" charset="0"/>
              </a:rPr>
              <a:t>ng</a:t>
            </a:r>
            <a:r>
              <a:rPr lang="en-US" sz="1800">
                <a:latin typeface="Times New Roman" panose="02020603050405020304" pitchFamily="18" charset="0"/>
                <a:cs typeface="Times New Roman" panose="02020603050405020304" pitchFamily="18" charset="0"/>
              </a:rPr>
              <a:t>.</a:t>
            </a: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Yêu</a:t>
            </a:r>
            <a:r>
              <a:rPr lang="vi-VN" sz="1800">
                <a:latin typeface="Times New Roman" panose="02020603050405020304" pitchFamily="18" charset="0"/>
                <a:cs typeface="Times New Roman" panose="02020603050405020304" pitchFamily="18" charset="0"/>
              </a:rPr>
              <a:t> thích sản phẩm</a:t>
            </a:r>
            <a:r>
              <a:rPr lang="en-US" sz="1800">
                <a:latin typeface="Times New Roman" panose="02020603050405020304" pitchFamily="18" charset="0"/>
                <a:cs typeface="Times New Roman" panose="02020603050405020304" pitchFamily="18" charset="0"/>
              </a:rPr>
              <a:t>.</a:t>
            </a: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Bình</a:t>
            </a:r>
            <a:r>
              <a:rPr lang="vi-VN" sz="1800">
                <a:latin typeface="Times New Roman" panose="02020603050405020304" pitchFamily="18" charset="0"/>
                <a:cs typeface="Times New Roman" panose="02020603050405020304" pitchFamily="18" charset="0"/>
              </a:rPr>
              <a:t> luận</a:t>
            </a:r>
            <a:r>
              <a:rPr lang="en-US" sz="1800">
                <a:latin typeface="Times New Roman" panose="02020603050405020304" pitchFamily="18" charset="0"/>
                <a:cs typeface="Times New Roman" panose="02020603050405020304" pitchFamily="18" charset="0"/>
              </a:rPr>
              <a:t>.</a:t>
            </a: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Liên hệ và liên lạc với quản trị</a:t>
            </a:r>
          </a:p>
          <a:p>
            <a:pPr lvl="2">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Thanh toán thường và thanh toán Online</a:t>
            </a:r>
            <a:r>
              <a:rPr lang="vi-VN" sz="1800">
                <a:latin typeface="Times New Roman" panose="02020603050405020304" pitchFamily="18" charset="0"/>
                <a:cs typeface="Times New Roman" panose="02020603050405020304" pitchFamily="18" charset="0"/>
              </a:rPr>
              <a:t> (Test VNPay)</a:t>
            </a:r>
            <a:endParaRPr lang="en-US" sz="1200">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856611029"/>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80">
                                          <p:stCondLst>
                                            <p:cond delay="0"/>
                                          </p:stCondLst>
                                        </p:cTn>
                                        <p:tgtEl>
                                          <p:spTgt spid="2">
                                            <p:txEl>
                                              <p:pRg st="0" end="0"/>
                                            </p:txEl>
                                          </p:spTgt>
                                        </p:tgtEl>
                                      </p:cBhvr>
                                    </p:animEffect>
                                    <p:anim calcmode="lin" valueType="num">
                                      <p:cBhvr>
                                        <p:cTn id="8" dur="1822" tmFilter="0,0; 0.14,0.36; 0.43,0.73; 0.71,0.91; 1.0,1.0">
                                          <p:stCondLst>
                                            <p:cond delay="0"/>
                                          </p:stCondLst>
                                        </p:cTn>
                                        <p:tgtEl>
                                          <p:spTgt spid="2">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xEl>
                                              <p:pRg st="0" end="0"/>
                                            </p:txEl>
                                          </p:spTgt>
                                        </p:tgtEl>
                                      </p:cBhvr>
                                      <p:to x="100000" y="60000"/>
                                    </p:animScale>
                                    <p:animScale>
                                      <p:cBhvr>
                                        <p:cTn id="14" dur="166" decel="50000">
                                          <p:stCondLst>
                                            <p:cond delay="676"/>
                                          </p:stCondLst>
                                        </p:cTn>
                                        <p:tgtEl>
                                          <p:spTgt spid="2">
                                            <p:txEl>
                                              <p:pRg st="0" end="0"/>
                                            </p:txEl>
                                          </p:spTgt>
                                        </p:tgtEl>
                                      </p:cBhvr>
                                      <p:to x="100000" y="100000"/>
                                    </p:animScale>
                                    <p:animScale>
                                      <p:cBhvr>
                                        <p:cTn id="15" dur="26">
                                          <p:stCondLst>
                                            <p:cond delay="1312"/>
                                          </p:stCondLst>
                                        </p:cTn>
                                        <p:tgtEl>
                                          <p:spTgt spid="2">
                                            <p:txEl>
                                              <p:pRg st="0" end="0"/>
                                            </p:txEl>
                                          </p:spTgt>
                                        </p:tgtEl>
                                      </p:cBhvr>
                                      <p:to x="100000" y="80000"/>
                                    </p:animScale>
                                    <p:animScale>
                                      <p:cBhvr>
                                        <p:cTn id="16" dur="166" decel="50000">
                                          <p:stCondLst>
                                            <p:cond delay="1338"/>
                                          </p:stCondLst>
                                        </p:cTn>
                                        <p:tgtEl>
                                          <p:spTgt spid="2">
                                            <p:txEl>
                                              <p:pRg st="0" end="0"/>
                                            </p:txEl>
                                          </p:spTgt>
                                        </p:tgtEl>
                                      </p:cBhvr>
                                      <p:to x="100000" y="100000"/>
                                    </p:animScale>
                                    <p:animScale>
                                      <p:cBhvr>
                                        <p:cTn id="17" dur="26">
                                          <p:stCondLst>
                                            <p:cond delay="1642"/>
                                          </p:stCondLst>
                                        </p:cTn>
                                        <p:tgtEl>
                                          <p:spTgt spid="2">
                                            <p:txEl>
                                              <p:pRg st="0" end="0"/>
                                            </p:txEl>
                                          </p:spTgt>
                                        </p:tgtEl>
                                      </p:cBhvr>
                                      <p:to x="100000" y="90000"/>
                                    </p:animScale>
                                    <p:animScale>
                                      <p:cBhvr>
                                        <p:cTn id="18" dur="166" decel="50000">
                                          <p:stCondLst>
                                            <p:cond delay="1668"/>
                                          </p:stCondLst>
                                        </p:cTn>
                                        <p:tgtEl>
                                          <p:spTgt spid="2">
                                            <p:txEl>
                                              <p:pRg st="0" end="0"/>
                                            </p:txEl>
                                          </p:spTgt>
                                        </p:tgtEl>
                                      </p:cBhvr>
                                      <p:to x="100000" y="100000"/>
                                    </p:animScale>
                                    <p:animScale>
                                      <p:cBhvr>
                                        <p:cTn id="19" dur="26">
                                          <p:stCondLst>
                                            <p:cond delay="1808"/>
                                          </p:stCondLst>
                                        </p:cTn>
                                        <p:tgtEl>
                                          <p:spTgt spid="2">
                                            <p:txEl>
                                              <p:pRg st="0" end="0"/>
                                            </p:txEl>
                                          </p:spTgt>
                                        </p:tgtEl>
                                      </p:cBhvr>
                                      <p:to x="100000" y="95000"/>
                                    </p:animScale>
                                    <p:animScale>
                                      <p:cBhvr>
                                        <p:cTn id="20" dur="166" decel="50000">
                                          <p:stCondLst>
                                            <p:cond delay="1834"/>
                                          </p:stCondLst>
                                        </p:cTn>
                                        <p:tgtEl>
                                          <p:spTgt spid="2">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nodeType="clickEffect">
                                  <p:stCondLst>
                                    <p:cond delay="0"/>
                                  </p:stCondLst>
                                  <p:childTnLst>
                                    <p:set>
                                      <p:cBhvr>
                                        <p:cTn id="24" dur="1" fill="hold">
                                          <p:stCondLst>
                                            <p:cond delay="0"/>
                                          </p:stCondLst>
                                        </p:cTn>
                                        <p:tgtEl>
                                          <p:spTgt spid="2">
                                            <p:txEl>
                                              <p:pRg st="1" end="1"/>
                                            </p:txEl>
                                          </p:spTgt>
                                        </p:tgtEl>
                                        <p:attrNameLst>
                                          <p:attrName>style.visibility</p:attrName>
                                        </p:attrNameLst>
                                      </p:cBhvr>
                                      <p:to>
                                        <p:strVal val="visible"/>
                                      </p:to>
                                    </p:set>
                                    <p:animEffect transition="in" filter="wipe(down)">
                                      <p:cBhvr>
                                        <p:cTn id="25" dur="580">
                                          <p:stCondLst>
                                            <p:cond delay="0"/>
                                          </p:stCondLst>
                                        </p:cTn>
                                        <p:tgtEl>
                                          <p:spTgt spid="2">
                                            <p:txEl>
                                              <p:pRg st="1" end="1"/>
                                            </p:txEl>
                                          </p:spTgt>
                                        </p:tgtEl>
                                      </p:cBhvr>
                                    </p:animEffect>
                                    <p:anim calcmode="lin" valueType="num">
                                      <p:cBhvr>
                                        <p:cTn id="26" dur="1822" tmFilter="0,0; 0.14,0.36; 0.43,0.73; 0.71,0.91; 1.0,1.0">
                                          <p:stCondLst>
                                            <p:cond delay="0"/>
                                          </p:stCondLst>
                                        </p:cTn>
                                        <p:tgtEl>
                                          <p:spTgt spid="2">
                                            <p:txEl>
                                              <p:pRg st="1" end="1"/>
                                            </p:txEl>
                                          </p:spTgt>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2">
                                            <p:txEl>
                                              <p:pRg st="1" end="1"/>
                                            </p:txEl>
                                          </p:spTgt>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2">
                                            <p:txEl>
                                              <p:pRg st="1" end="1"/>
                                            </p:txEl>
                                          </p:spTgt>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2">
                                            <p:txEl>
                                              <p:pRg st="1" end="1"/>
                                            </p:txEl>
                                          </p:spTgt>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2">
                                            <p:txEl>
                                              <p:pRg st="1" end="1"/>
                                            </p:txEl>
                                          </p:spTgt>
                                        </p:tgtEl>
                                        <p:attrNameLst>
                                          <p:attrName>ppt_y</p:attrName>
                                        </p:attrNameLst>
                                      </p:cBhvr>
                                      <p:tavLst>
                                        <p:tav tm="0" fmla="#ppt_y-sin(pi*$)/81">
                                          <p:val>
                                            <p:fltVal val="0"/>
                                          </p:val>
                                        </p:tav>
                                        <p:tav tm="100000">
                                          <p:val>
                                            <p:fltVal val="1"/>
                                          </p:val>
                                        </p:tav>
                                      </p:tavLst>
                                    </p:anim>
                                    <p:animScale>
                                      <p:cBhvr>
                                        <p:cTn id="31" dur="26">
                                          <p:stCondLst>
                                            <p:cond delay="650"/>
                                          </p:stCondLst>
                                        </p:cTn>
                                        <p:tgtEl>
                                          <p:spTgt spid="2">
                                            <p:txEl>
                                              <p:pRg st="1" end="1"/>
                                            </p:txEl>
                                          </p:spTgt>
                                        </p:tgtEl>
                                      </p:cBhvr>
                                      <p:to x="100000" y="60000"/>
                                    </p:animScale>
                                    <p:animScale>
                                      <p:cBhvr>
                                        <p:cTn id="32" dur="166" decel="50000">
                                          <p:stCondLst>
                                            <p:cond delay="676"/>
                                          </p:stCondLst>
                                        </p:cTn>
                                        <p:tgtEl>
                                          <p:spTgt spid="2">
                                            <p:txEl>
                                              <p:pRg st="1" end="1"/>
                                            </p:txEl>
                                          </p:spTgt>
                                        </p:tgtEl>
                                      </p:cBhvr>
                                      <p:to x="100000" y="100000"/>
                                    </p:animScale>
                                    <p:animScale>
                                      <p:cBhvr>
                                        <p:cTn id="33" dur="26">
                                          <p:stCondLst>
                                            <p:cond delay="1312"/>
                                          </p:stCondLst>
                                        </p:cTn>
                                        <p:tgtEl>
                                          <p:spTgt spid="2">
                                            <p:txEl>
                                              <p:pRg st="1" end="1"/>
                                            </p:txEl>
                                          </p:spTgt>
                                        </p:tgtEl>
                                      </p:cBhvr>
                                      <p:to x="100000" y="80000"/>
                                    </p:animScale>
                                    <p:animScale>
                                      <p:cBhvr>
                                        <p:cTn id="34" dur="166" decel="50000">
                                          <p:stCondLst>
                                            <p:cond delay="1338"/>
                                          </p:stCondLst>
                                        </p:cTn>
                                        <p:tgtEl>
                                          <p:spTgt spid="2">
                                            <p:txEl>
                                              <p:pRg st="1" end="1"/>
                                            </p:txEl>
                                          </p:spTgt>
                                        </p:tgtEl>
                                      </p:cBhvr>
                                      <p:to x="100000" y="100000"/>
                                    </p:animScale>
                                    <p:animScale>
                                      <p:cBhvr>
                                        <p:cTn id="35" dur="26">
                                          <p:stCondLst>
                                            <p:cond delay="1642"/>
                                          </p:stCondLst>
                                        </p:cTn>
                                        <p:tgtEl>
                                          <p:spTgt spid="2">
                                            <p:txEl>
                                              <p:pRg st="1" end="1"/>
                                            </p:txEl>
                                          </p:spTgt>
                                        </p:tgtEl>
                                      </p:cBhvr>
                                      <p:to x="100000" y="90000"/>
                                    </p:animScale>
                                    <p:animScale>
                                      <p:cBhvr>
                                        <p:cTn id="36" dur="166" decel="50000">
                                          <p:stCondLst>
                                            <p:cond delay="1668"/>
                                          </p:stCondLst>
                                        </p:cTn>
                                        <p:tgtEl>
                                          <p:spTgt spid="2">
                                            <p:txEl>
                                              <p:pRg st="1" end="1"/>
                                            </p:txEl>
                                          </p:spTgt>
                                        </p:tgtEl>
                                      </p:cBhvr>
                                      <p:to x="100000" y="100000"/>
                                    </p:animScale>
                                    <p:animScale>
                                      <p:cBhvr>
                                        <p:cTn id="37" dur="26">
                                          <p:stCondLst>
                                            <p:cond delay="1808"/>
                                          </p:stCondLst>
                                        </p:cTn>
                                        <p:tgtEl>
                                          <p:spTgt spid="2">
                                            <p:txEl>
                                              <p:pRg st="1" end="1"/>
                                            </p:txEl>
                                          </p:spTgt>
                                        </p:tgtEl>
                                      </p:cBhvr>
                                      <p:to x="100000" y="95000"/>
                                    </p:animScale>
                                    <p:animScale>
                                      <p:cBhvr>
                                        <p:cTn id="38" dur="166" decel="50000">
                                          <p:stCondLst>
                                            <p:cond delay="1834"/>
                                          </p:stCondLst>
                                        </p:cTn>
                                        <p:tgtEl>
                                          <p:spTgt spid="2">
                                            <p:txEl>
                                              <p:pRg st="1" end="1"/>
                                            </p:txEl>
                                          </p:spTgt>
                                        </p:tgtEl>
                                      </p:cBhvr>
                                      <p:to x="100000" y="100000"/>
                                    </p:animScale>
                                  </p:childTnLst>
                                </p:cTn>
                              </p:par>
                            </p:childTnLst>
                          </p:cTn>
                        </p:par>
                      </p:childTnLst>
                    </p:cTn>
                  </p:par>
                  <p:par>
                    <p:cTn id="39" fill="hold">
                      <p:stCondLst>
                        <p:cond delay="indefinite"/>
                      </p:stCondLst>
                      <p:childTnLst>
                        <p:par>
                          <p:cTn id="40" fill="hold">
                            <p:stCondLst>
                              <p:cond delay="0"/>
                            </p:stCondLst>
                            <p:childTnLst>
                              <p:par>
                                <p:cTn id="41" presetID="26" presetClass="entr" presetSubtype="0" fill="hold" nodeType="clickEffect">
                                  <p:stCondLst>
                                    <p:cond delay="0"/>
                                  </p:stCondLst>
                                  <p:childTnLst>
                                    <p:set>
                                      <p:cBhvr>
                                        <p:cTn id="42" dur="1" fill="hold">
                                          <p:stCondLst>
                                            <p:cond delay="0"/>
                                          </p:stCondLst>
                                        </p:cTn>
                                        <p:tgtEl>
                                          <p:spTgt spid="2">
                                            <p:txEl>
                                              <p:pRg st="2" end="2"/>
                                            </p:txEl>
                                          </p:spTgt>
                                        </p:tgtEl>
                                        <p:attrNameLst>
                                          <p:attrName>style.visibility</p:attrName>
                                        </p:attrNameLst>
                                      </p:cBhvr>
                                      <p:to>
                                        <p:strVal val="visible"/>
                                      </p:to>
                                    </p:set>
                                    <p:animEffect transition="in" filter="wipe(down)">
                                      <p:cBhvr>
                                        <p:cTn id="43" dur="580">
                                          <p:stCondLst>
                                            <p:cond delay="0"/>
                                          </p:stCondLst>
                                        </p:cTn>
                                        <p:tgtEl>
                                          <p:spTgt spid="2">
                                            <p:txEl>
                                              <p:pRg st="2" end="2"/>
                                            </p:txEl>
                                          </p:spTgt>
                                        </p:tgtEl>
                                      </p:cBhvr>
                                    </p:animEffect>
                                    <p:anim calcmode="lin" valueType="num">
                                      <p:cBhvr>
                                        <p:cTn id="44" dur="1822" tmFilter="0,0; 0.14,0.36; 0.43,0.73; 0.71,0.91; 1.0,1.0">
                                          <p:stCondLst>
                                            <p:cond delay="0"/>
                                          </p:stCondLst>
                                        </p:cTn>
                                        <p:tgtEl>
                                          <p:spTgt spid="2">
                                            <p:txEl>
                                              <p:pRg st="2" end="2"/>
                                            </p:txEl>
                                          </p:spTgt>
                                        </p:tgtEl>
                                        <p:attrNameLst>
                                          <p:attrName>ppt_x</p:attrName>
                                        </p:attrNameLst>
                                      </p:cBhvr>
                                      <p:tavLst>
                                        <p:tav tm="0">
                                          <p:val>
                                            <p:strVal val="#ppt_x-0.25"/>
                                          </p:val>
                                        </p:tav>
                                        <p:tav tm="100000">
                                          <p:val>
                                            <p:strVal val="#ppt_x"/>
                                          </p:val>
                                        </p:tav>
                                      </p:tavLst>
                                    </p:anim>
                                    <p:anim calcmode="lin" valueType="num">
                                      <p:cBhvr>
                                        <p:cTn id="45" dur="664" tmFilter="0.0,0.0; 0.25,0.07; 0.50,0.2; 0.75,0.467; 1.0,1.0">
                                          <p:stCondLst>
                                            <p:cond delay="0"/>
                                          </p:stCondLst>
                                        </p:cTn>
                                        <p:tgtEl>
                                          <p:spTgt spid="2">
                                            <p:txEl>
                                              <p:pRg st="2" end="2"/>
                                            </p:txEl>
                                          </p:spTgt>
                                        </p:tgtEl>
                                        <p:attrNameLst>
                                          <p:attrName>ppt_y</p:attrName>
                                        </p:attrNameLst>
                                      </p:cBhvr>
                                      <p:tavLst>
                                        <p:tav tm="0" fmla="#ppt_y-sin(pi*$)/3">
                                          <p:val>
                                            <p:fltVal val="0.5"/>
                                          </p:val>
                                        </p:tav>
                                        <p:tav tm="100000">
                                          <p:val>
                                            <p:fltVal val="1"/>
                                          </p:val>
                                        </p:tav>
                                      </p:tavLst>
                                    </p:anim>
                                    <p:anim calcmode="lin" valueType="num">
                                      <p:cBhvr>
                                        <p:cTn id="46" dur="664" tmFilter="0, 0; 0.125,0.2665; 0.25,0.4; 0.375,0.465; 0.5,0.5;  0.625,0.535; 0.75,0.6; 0.875,0.7335; 1,1">
                                          <p:stCondLst>
                                            <p:cond delay="664"/>
                                          </p:stCondLst>
                                        </p:cTn>
                                        <p:tgtEl>
                                          <p:spTgt spid="2">
                                            <p:txEl>
                                              <p:pRg st="2" end="2"/>
                                            </p:txEl>
                                          </p:spTgt>
                                        </p:tgtEl>
                                        <p:attrNameLst>
                                          <p:attrName>ppt_y</p:attrName>
                                        </p:attrNameLst>
                                      </p:cBhvr>
                                      <p:tavLst>
                                        <p:tav tm="0" fmla="#ppt_y-sin(pi*$)/9">
                                          <p:val>
                                            <p:fltVal val="0"/>
                                          </p:val>
                                        </p:tav>
                                        <p:tav tm="100000">
                                          <p:val>
                                            <p:fltVal val="1"/>
                                          </p:val>
                                        </p:tav>
                                      </p:tavLst>
                                    </p:anim>
                                    <p:anim calcmode="lin" valueType="num">
                                      <p:cBhvr>
                                        <p:cTn id="47" dur="332" tmFilter="0, 0; 0.125,0.2665; 0.25,0.4; 0.375,0.465; 0.5,0.5;  0.625,0.535; 0.75,0.6; 0.875,0.7335; 1,1">
                                          <p:stCondLst>
                                            <p:cond delay="1324"/>
                                          </p:stCondLst>
                                        </p:cTn>
                                        <p:tgtEl>
                                          <p:spTgt spid="2">
                                            <p:txEl>
                                              <p:pRg st="2" end="2"/>
                                            </p:txEl>
                                          </p:spTgt>
                                        </p:tgtEl>
                                        <p:attrNameLst>
                                          <p:attrName>ppt_y</p:attrName>
                                        </p:attrNameLst>
                                      </p:cBhvr>
                                      <p:tavLst>
                                        <p:tav tm="0" fmla="#ppt_y-sin(pi*$)/27">
                                          <p:val>
                                            <p:fltVal val="0"/>
                                          </p:val>
                                        </p:tav>
                                        <p:tav tm="100000">
                                          <p:val>
                                            <p:fltVal val="1"/>
                                          </p:val>
                                        </p:tav>
                                      </p:tavLst>
                                    </p:anim>
                                    <p:anim calcmode="lin" valueType="num">
                                      <p:cBhvr>
                                        <p:cTn id="48" dur="164" tmFilter="0, 0; 0.125,0.2665; 0.25,0.4; 0.375,0.465; 0.5,0.5;  0.625,0.535; 0.75,0.6; 0.875,0.7335; 1,1">
                                          <p:stCondLst>
                                            <p:cond delay="1656"/>
                                          </p:stCondLst>
                                        </p:cTn>
                                        <p:tgtEl>
                                          <p:spTgt spid="2">
                                            <p:txEl>
                                              <p:pRg st="2" end="2"/>
                                            </p:txEl>
                                          </p:spTgt>
                                        </p:tgtEl>
                                        <p:attrNameLst>
                                          <p:attrName>ppt_y</p:attrName>
                                        </p:attrNameLst>
                                      </p:cBhvr>
                                      <p:tavLst>
                                        <p:tav tm="0" fmla="#ppt_y-sin(pi*$)/81">
                                          <p:val>
                                            <p:fltVal val="0"/>
                                          </p:val>
                                        </p:tav>
                                        <p:tav tm="100000">
                                          <p:val>
                                            <p:fltVal val="1"/>
                                          </p:val>
                                        </p:tav>
                                      </p:tavLst>
                                    </p:anim>
                                    <p:animScale>
                                      <p:cBhvr>
                                        <p:cTn id="49" dur="26">
                                          <p:stCondLst>
                                            <p:cond delay="650"/>
                                          </p:stCondLst>
                                        </p:cTn>
                                        <p:tgtEl>
                                          <p:spTgt spid="2">
                                            <p:txEl>
                                              <p:pRg st="2" end="2"/>
                                            </p:txEl>
                                          </p:spTgt>
                                        </p:tgtEl>
                                      </p:cBhvr>
                                      <p:to x="100000" y="60000"/>
                                    </p:animScale>
                                    <p:animScale>
                                      <p:cBhvr>
                                        <p:cTn id="50" dur="166" decel="50000">
                                          <p:stCondLst>
                                            <p:cond delay="676"/>
                                          </p:stCondLst>
                                        </p:cTn>
                                        <p:tgtEl>
                                          <p:spTgt spid="2">
                                            <p:txEl>
                                              <p:pRg st="2" end="2"/>
                                            </p:txEl>
                                          </p:spTgt>
                                        </p:tgtEl>
                                      </p:cBhvr>
                                      <p:to x="100000" y="100000"/>
                                    </p:animScale>
                                    <p:animScale>
                                      <p:cBhvr>
                                        <p:cTn id="51" dur="26">
                                          <p:stCondLst>
                                            <p:cond delay="1312"/>
                                          </p:stCondLst>
                                        </p:cTn>
                                        <p:tgtEl>
                                          <p:spTgt spid="2">
                                            <p:txEl>
                                              <p:pRg st="2" end="2"/>
                                            </p:txEl>
                                          </p:spTgt>
                                        </p:tgtEl>
                                      </p:cBhvr>
                                      <p:to x="100000" y="80000"/>
                                    </p:animScale>
                                    <p:animScale>
                                      <p:cBhvr>
                                        <p:cTn id="52" dur="166" decel="50000">
                                          <p:stCondLst>
                                            <p:cond delay="1338"/>
                                          </p:stCondLst>
                                        </p:cTn>
                                        <p:tgtEl>
                                          <p:spTgt spid="2">
                                            <p:txEl>
                                              <p:pRg st="2" end="2"/>
                                            </p:txEl>
                                          </p:spTgt>
                                        </p:tgtEl>
                                      </p:cBhvr>
                                      <p:to x="100000" y="100000"/>
                                    </p:animScale>
                                    <p:animScale>
                                      <p:cBhvr>
                                        <p:cTn id="53" dur="26">
                                          <p:stCondLst>
                                            <p:cond delay="1642"/>
                                          </p:stCondLst>
                                        </p:cTn>
                                        <p:tgtEl>
                                          <p:spTgt spid="2">
                                            <p:txEl>
                                              <p:pRg st="2" end="2"/>
                                            </p:txEl>
                                          </p:spTgt>
                                        </p:tgtEl>
                                      </p:cBhvr>
                                      <p:to x="100000" y="90000"/>
                                    </p:animScale>
                                    <p:animScale>
                                      <p:cBhvr>
                                        <p:cTn id="54" dur="166" decel="50000">
                                          <p:stCondLst>
                                            <p:cond delay="1668"/>
                                          </p:stCondLst>
                                        </p:cTn>
                                        <p:tgtEl>
                                          <p:spTgt spid="2">
                                            <p:txEl>
                                              <p:pRg st="2" end="2"/>
                                            </p:txEl>
                                          </p:spTgt>
                                        </p:tgtEl>
                                      </p:cBhvr>
                                      <p:to x="100000" y="100000"/>
                                    </p:animScale>
                                    <p:animScale>
                                      <p:cBhvr>
                                        <p:cTn id="55" dur="26">
                                          <p:stCondLst>
                                            <p:cond delay="1808"/>
                                          </p:stCondLst>
                                        </p:cTn>
                                        <p:tgtEl>
                                          <p:spTgt spid="2">
                                            <p:txEl>
                                              <p:pRg st="2" end="2"/>
                                            </p:txEl>
                                          </p:spTgt>
                                        </p:tgtEl>
                                      </p:cBhvr>
                                      <p:to x="100000" y="95000"/>
                                    </p:animScale>
                                    <p:animScale>
                                      <p:cBhvr>
                                        <p:cTn id="56" dur="166" decel="50000">
                                          <p:stCondLst>
                                            <p:cond delay="1834"/>
                                          </p:stCondLst>
                                        </p:cTn>
                                        <p:tgtEl>
                                          <p:spTgt spid="2">
                                            <p:txEl>
                                              <p:pRg st="2" end="2"/>
                                            </p:txEl>
                                          </p:spTgt>
                                        </p:tgtEl>
                                      </p:cBhvr>
                                      <p:to x="100000" y="100000"/>
                                    </p:animScale>
                                  </p:childTnLst>
                                </p:cTn>
                              </p:par>
                            </p:childTnLst>
                          </p:cTn>
                        </p:par>
                      </p:childTnLst>
                    </p:cTn>
                  </p:par>
                  <p:par>
                    <p:cTn id="57" fill="hold">
                      <p:stCondLst>
                        <p:cond delay="indefinite"/>
                      </p:stCondLst>
                      <p:childTnLst>
                        <p:par>
                          <p:cTn id="58" fill="hold">
                            <p:stCondLst>
                              <p:cond delay="0"/>
                            </p:stCondLst>
                            <p:childTnLst>
                              <p:par>
                                <p:cTn id="59" presetID="26" presetClass="entr" presetSubtype="0" fill="hold" nodeType="clickEffect">
                                  <p:stCondLst>
                                    <p:cond delay="0"/>
                                  </p:stCondLst>
                                  <p:childTnLst>
                                    <p:set>
                                      <p:cBhvr>
                                        <p:cTn id="60" dur="1" fill="hold">
                                          <p:stCondLst>
                                            <p:cond delay="0"/>
                                          </p:stCondLst>
                                        </p:cTn>
                                        <p:tgtEl>
                                          <p:spTgt spid="2">
                                            <p:txEl>
                                              <p:pRg st="3" end="3"/>
                                            </p:txEl>
                                          </p:spTgt>
                                        </p:tgtEl>
                                        <p:attrNameLst>
                                          <p:attrName>style.visibility</p:attrName>
                                        </p:attrNameLst>
                                      </p:cBhvr>
                                      <p:to>
                                        <p:strVal val="visible"/>
                                      </p:to>
                                    </p:set>
                                    <p:animEffect transition="in" filter="wipe(down)">
                                      <p:cBhvr>
                                        <p:cTn id="61" dur="580">
                                          <p:stCondLst>
                                            <p:cond delay="0"/>
                                          </p:stCondLst>
                                        </p:cTn>
                                        <p:tgtEl>
                                          <p:spTgt spid="2">
                                            <p:txEl>
                                              <p:pRg st="3" end="3"/>
                                            </p:txEl>
                                          </p:spTgt>
                                        </p:tgtEl>
                                      </p:cBhvr>
                                    </p:animEffect>
                                    <p:anim calcmode="lin" valueType="num">
                                      <p:cBhvr>
                                        <p:cTn id="62" dur="1822" tmFilter="0,0; 0.14,0.36; 0.43,0.73; 0.71,0.91; 1.0,1.0">
                                          <p:stCondLst>
                                            <p:cond delay="0"/>
                                          </p:stCondLst>
                                        </p:cTn>
                                        <p:tgtEl>
                                          <p:spTgt spid="2">
                                            <p:txEl>
                                              <p:pRg st="3" end="3"/>
                                            </p:txEl>
                                          </p:spTgt>
                                        </p:tgtEl>
                                        <p:attrNameLst>
                                          <p:attrName>ppt_x</p:attrName>
                                        </p:attrNameLst>
                                      </p:cBhvr>
                                      <p:tavLst>
                                        <p:tav tm="0">
                                          <p:val>
                                            <p:strVal val="#ppt_x-0.25"/>
                                          </p:val>
                                        </p:tav>
                                        <p:tav tm="100000">
                                          <p:val>
                                            <p:strVal val="#ppt_x"/>
                                          </p:val>
                                        </p:tav>
                                      </p:tavLst>
                                    </p:anim>
                                    <p:anim calcmode="lin" valueType="num">
                                      <p:cBhvr>
                                        <p:cTn id="63" dur="664" tmFilter="0.0,0.0; 0.25,0.07; 0.50,0.2; 0.75,0.467; 1.0,1.0">
                                          <p:stCondLst>
                                            <p:cond delay="0"/>
                                          </p:stCondLst>
                                        </p:cTn>
                                        <p:tgtEl>
                                          <p:spTgt spid="2">
                                            <p:txEl>
                                              <p:pRg st="3" end="3"/>
                                            </p:txEl>
                                          </p:spTgt>
                                        </p:tgtEl>
                                        <p:attrNameLst>
                                          <p:attrName>ppt_y</p:attrName>
                                        </p:attrNameLst>
                                      </p:cBhvr>
                                      <p:tavLst>
                                        <p:tav tm="0" fmla="#ppt_y-sin(pi*$)/3">
                                          <p:val>
                                            <p:fltVal val="0.5"/>
                                          </p:val>
                                        </p:tav>
                                        <p:tav tm="100000">
                                          <p:val>
                                            <p:fltVal val="1"/>
                                          </p:val>
                                        </p:tav>
                                      </p:tavLst>
                                    </p:anim>
                                    <p:anim calcmode="lin" valueType="num">
                                      <p:cBhvr>
                                        <p:cTn id="64" dur="664" tmFilter="0, 0; 0.125,0.2665; 0.25,0.4; 0.375,0.465; 0.5,0.5;  0.625,0.535; 0.75,0.6; 0.875,0.7335; 1,1">
                                          <p:stCondLst>
                                            <p:cond delay="664"/>
                                          </p:stCondLst>
                                        </p:cTn>
                                        <p:tgtEl>
                                          <p:spTgt spid="2">
                                            <p:txEl>
                                              <p:pRg st="3" end="3"/>
                                            </p:txEl>
                                          </p:spTgt>
                                        </p:tgtEl>
                                        <p:attrNameLst>
                                          <p:attrName>ppt_y</p:attrName>
                                        </p:attrNameLst>
                                      </p:cBhvr>
                                      <p:tavLst>
                                        <p:tav tm="0" fmla="#ppt_y-sin(pi*$)/9">
                                          <p:val>
                                            <p:fltVal val="0"/>
                                          </p:val>
                                        </p:tav>
                                        <p:tav tm="100000">
                                          <p:val>
                                            <p:fltVal val="1"/>
                                          </p:val>
                                        </p:tav>
                                      </p:tavLst>
                                    </p:anim>
                                    <p:anim calcmode="lin" valueType="num">
                                      <p:cBhvr>
                                        <p:cTn id="65" dur="332" tmFilter="0, 0; 0.125,0.2665; 0.25,0.4; 0.375,0.465; 0.5,0.5;  0.625,0.535; 0.75,0.6; 0.875,0.7335; 1,1">
                                          <p:stCondLst>
                                            <p:cond delay="1324"/>
                                          </p:stCondLst>
                                        </p:cTn>
                                        <p:tgtEl>
                                          <p:spTgt spid="2">
                                            <p:txEl>
                                              <p:pRg st="3" end="3"/>
                                            </p:txEl>
                                          </p:spTgt>
                                        </p:tgtEl>
                                        <p:attrNameLst>
                                          <p:attrName>ppt_y</p:attrName>
                                        </p:attrNameLst>
                                      </p:cBhvr>
                                      <p:tavLst>
                                        <p:tav tm="0" fmla="#ppt_y-sin(pi*$)/27">
                                          <p:val>
                                            <p:fltVal val="0"/>
                                          </p:val>
                                        </p:tav>
                                        <p:tav tm="100000">
                                          <p:val>
                                            <p:fltVal val="1"/>
                                          </p:val>
                                        </p:tav>
                                      </p:tavLst>
                                    </p:anim>
                                    <p:anim calcmode="lin" valueType="num">
                                      <p:cBhvr>
                                        <p:cTn id="66" dur="164" tmFilter="0, 0; 0.125,0.2665; 0.25,0.4; 0.375,0.465; 0.5,0.5;  0.625,0.535; 0.75,0.6; 0.875,0.7335; 1,1">
                                          <p:stCondLst>
                                            <p:cond delay="1656"/>
                                          </p:stCondLst>
                                        </p:cTn>
                                        <p:tgtEl>
                                          <p:spTgt spid="2">
                                            <p:txEl>
                                              <p:pRg st="3" end="3"/>
                                            </p:txEl>
                                          </p:spTgt>
                                        </p:tgtEl>
                                        <p:attrNameLst>
                                          <p:attrName>ppt_y</p:attrName>
                                        </p:attrNameLst>
                                      </p:cBhvr>
                                      <p:tavLst>
                                        <p:tav tm="0" fmla="#ppt_y-sin(pi*$)/81">
                                          <p:val>
                                            <p:fltVal val="0"/>
                                          </p:val>
                                        </p:tav>
                                        <p:tav tm="100000">
                                          <p:val>
                                            <p:fltVal val="1"/>
                                          </p:val>
                                        </p:tav>
                                      </p:tavLst>
                                    </p:anim>
                                    <p:animScale>
                                      <p:cBhvr>
                                        <p:cTn id="67" dur="26">
                                          <p:stCondLst>
                                            <p:cond delay="650"/>
                                          </p:stCondLst>
                                        </p:cTn>
                                        <p:tgtEl>
                                          <p:spTgt spid="2">
                                            <p:txEl>
                                              <p:pRg st="3" end="3"/>
                                            </p:txEl>
                                          </p:spTgt>
                                        </p:tgtEl>
                                      </p:cBhvr>
                                      <p:to x="100000" y="60000"/>
                                    </p:animScale>
                                    <p:animScale>
                                      <p:cBhvr>
                                        <p:cTn id="68" dur="166" decel="50000">
                                          <p:stCondLst>
                                            <p:cond delay="676"/>
                                          </p:stCondLst>
                                        </p:cTn>
                                        <p:tgtEl>
                                          <p:spTgt spid="2">
                                            <p:txEl>
                                              <p:pRg st="3" end="3"/>
                                            </p:txEl>
                                          </p:spTgt>
                                        </p:tgtEl>
                                      </p:cBhvr>
                                      <p:to x="100000" y="100000"/>
                                    </p:animScale>
                                    <p:animScale>
                                      <p:cBhvr>
                                        <p:cTn id="69" dur="26">
                                          <p:stCondLst>
                                            <p:cond delay="1312"/>
                                          </p:stCondLst>
                                        </p:cTn>
                                        <p:tgtEl>
                                          <p:spTgt spid="2">
                                            <p:txEl>
                                              <p:pRg st="3" end="3"/>
                                            </p:txEl>
                                          </p:spTgt>
                                        </p:tgtEl>
                                      </p:cBhvr>
                                      <p:to x="100000" y="80000"/>
                                    </p:animScale>
                                    <p:animScale>
                                      <p:cBhvr>
                                        <p:cTn id="70" dur="166" decel="50000">
                                          <p:stCondLst>
                                            <p:cond delay="1338"/>
                                          </p:stCondLst>
                                        </p:cTn>
                                        <p:tgtEl>
                                          <p:spTgt spid="2">
                                            <p:txEl>
                                              <p:pRg st="3" end="3"/>
                                            </p:txEl>
                                          </p:spTgt>
                                        </p:tgtEl>
                                      </p:cBhvr>
                                      <p:to x="100000" y="100000"/>
                                    </p:animScale>
                                    <p:animScale>
                                      <p:cBhvr>
                                        <p:cTn id="71" dur="26">
                                          <p:stCondLst>
                                            <p:cond delay="1642"/>
                                          </p:stCondLst>
                                        </p:cTn>
                                        <p:tgtEl>
                                          <p:spTgt spid="2">
                                            <p:txEl>
                                              <p:pRg st="3" end="3"/>
                                            </p:txEl>
                                          </p:spTgt>
                                        </p:tgtEl>
                                      </p:cBhvr>
                                      <p:to x="100000" y="90000"/>
                                    </p:animScale>
                                    <p:animScale>
                                      <p:cBhvr>
                                        <p:cTn id="72" dur="166" decel="50000">
                                          <p:stCondLst>
                                            <p:cond delay="1668"/>
                                          </p:stCondLst>
                                        </p:cTn>
                                        <p:tgtEl>
                                          <p:spTgt spid="2">
                                            <p:txEl>
                                              <p:pRg st="3" end="3"/>
                                            </p:txEl>
                                          </p:spTgt>
                                        </p:tgtEl>
                                      </p:cBhvr>
                                      <p:to x="100000" y="100000"/>
                                    </p:animScale>
                                    <p:animScale>
                                      <p:cBhvr>
                                        <p:cTn id="73" dur="26">
                                          <p:stCondLst>
                                            <p:cond delay="1808"/>
                                          </p:stCondLst>
                                        </p:cTn>
                                        <p:tgtEl>
                                          <p:spTgt spid="2">
                                            <p:txEl>
                                              <p:pRg st="3" end="3"/>
                                            </p:txEl>
                                          </p:spTgt>
                                        </p:tgtEl>
                                      </p:cBhvr>
                                      <p:to x="100000" y="95000"/>
                                    </p:animScale>
                                    <p:animScale>
                                      <p:cBhvr>
                                        <p:cTn id="74" dur="166" decel="50000">
                                          <p:stCondLst>
                                            <p:cond delay="1834"/>
                                          </p:stCondLst>
                                        </p:cTn>
                                        <p:tgtEl>
                                          <p:spTgt spid="2">
                                            <p:txEl>
                                              <p:pRg st="3" end="3"/>
                                            </p:txEl>
                                          </p:spTgt>
                                        </p:tgtEl>
                                      </p:cBhvr>
                                      <p:to x="100000" y="100000"/>
                                    </p:animScale>
                                  </p:childTnLst>
                                </p:cTn>
                              </p:par>
                            </p:childTnLst>
                          </p:cTn>
                        </p:par>
                      </p:childTnLst>
                    </p:cTn>
                  </p:par>
                  <p:par>
                    <p:cTn id="75" fill="hold">
                      <p:stCondLst>
                        <p:cond delay="indefinite"/>
                      </p:stCondLst>
                      <p:childTnLst>
                        <p:par>
                          <p:cTn id="76" fill="hold">
                            <p:stCondLst>
                              <p:cond delay="0"/>
                            </p:stCondLst>
                            <p:childTnLst>
                              <p:par>
                                <p:cTn id="77" presetID="26" presetClass="entr" presetSubtype="0" fill="hold" nodeType="clickEffect">
                                  <p:stCondLst>
                                    <p:cond delay="0"/>
                                  </p:stCondLst>
                                  <p:childTnLst>
                                    <p:set>
                                      <p:cBhvr>
                                        <p:cTn id="78" dur="1" fill="hold">
                                          <p:stCondLst>
                                            <p:cond delay="0"/>
                                          </p:stCondLst>
                                        </p:cTn>
                                        <p:tgtEl>
                                          <p:spTgt spid="2">
                                            <p:txEl>
                                              <p:pRg st="4" end="4"/>
                                            </p:txEl>
                                          </p:spTgt>
                                        </p:tgtEl>
                                        <p:attrNameLst>
                                          <p:attrName>style.visibility</p:attrName>
                                        </p:attrNameLst>
                                      </p:cBhvr>
                                      <p:to>
                                        <p:strVal val="visible"/>
                                      </p:to>
                                    </p:set>
                                    <p:animEffect transition="in" filter="wipe(down)">
                                      <p:cBhvr>
                                        <p:cTn id="79" dur="580">
                                          <p:stCondLst>
                                            <p:cond delay="0"/>
                                          </p:stCondLst>
                                        </p:cTn>
                                        <p:tgtEl>
                                          <p:spTgt spid="2">
                                            <p:txEl>
                                              <p:pRg st="4" end="4"/>
                                            </p:txEl>
                                          </p:spTgt>
                                        </p:tgtEl>
                                      </p:cBhvr>
                                    </p:animEffect>
                                    <p:anim calcmode="lin" valueType="num">
                                      <p:cBhvr>
                                        <p:cTn id="80" dur="1822" tmFilter="0,0; 0.14,0.36; 0.43,0.73; 0.71,0.91; 1.0,1.0">
                                          <p:stCondLst>
                                            <p:cond delay="0"/>
                                          </p:stCondLst>
                                        </p:cTn>
                                        <p:tgtEl>
                                          <p:spTgt spid="2">
                                            <p:txEl>
                                              <p:pRg st="4" end="4"/>
                                            </p:txEl>
                                          </p:spTgt>
                                        </p:tgtEl>
                                        <p:attrNameLst>
                                          <p:attrName>ppt_x</p:attrName>
                                        </p:attrNameLst>
                                      </p:cBhvr>
                                      <p:tavLst>
                                        <p:tav tm="0">
                                          <p:val>
                                            <p:strVal val="#ppt_x-0.25"/>
                                          </p:val>
                                        </p:tav>
                                        <p:tav tm="100000">
                                          <p:val>
                                            <p:strVal val="#ppt_x"/>
                                          </p:val>
                                        </p:tav>
                                      </p:tavLst>
                                    </p:anim>
                                    <p:anim calcmode="lin" valueType="num">
                                      <p:cBhvr>
                                        <p:cTn id="81" dur="664" tmFilter="0.0,0.0; 0.25,0.07; 0.50,0.2; 0.75,0.467; 1.0,1.0">
                                          <p:stCondLst>
                                            <p:cond delay="0"/>
                                          </p:stCondLst>
                                        </p:cTn>
                                        <p:tgtEl>
                                          <p:spTgt spid="2">
                                            <p:txEl>
                                              <p:pRg st="4" end="4"/>
                                            </p:txEl>
                                          </p:spTgt>
                                        </p:tgtEl>
                                        <p:attrNameLst>
                                          <p:attrName>ppt_y</p:attrName>
                                        </p:attrNameLst>
                                      </p:cBhvr>
                                      <p:tavLst>
                                        <p:tav tm="0" fmla="#ppt_y-sin(pi*$)/3">
                                          <p:val>
                                            <p:fltVal val="0.5"/>
                                          </p:val>
                                        </p:tav>
                                        <p:tav tm="100000">
                                          <p:val>
                                            <p:fltVal val="1"/>
                                          </p:val>
                                        </p:tav>
                                      </p:tavLst>
                                    </p:anim>
                                    <p:anim calcmode="lin" valueType="num">
                                      <p:cBhvr>
                                        <p:cTn id="82" dur="664" tmFilter="0, 0; 0.125,0.2665; 0.25,0.4; 0.375,0.465; 0.5,0.5;  0.625,0.535; 0.75,0.6; 0.875,0.7335; 1,1">
                                          <p:stCondLst>
                                            <p:cond delay="664"/>
                                          </p:stCondLst>
                                        </p:cTn>
                                        <p:tgtEl>
                                          <p:spTgt spid="2">
                                            <p:txEl>
                                              <p:pRg st="4" end="4"/>
                                            </p:txEl>
                                          </p:spTgt>
                                        </p:tgtEl>
                                        <p:attrNameLst>
                                          <p:attrName>ppt_y</p:attrName>
                                        </p:attrNameLst>
                                      </p:cBhvr>
                                      <p:tavLst>
                                        <p:tav tm="0" fmla="#ppt_y-sin(pi*$)/9">
                                          <p:val>
                                            <p:fltVal val="0"/>
                                          </p:val>
                                        </p:tav>
                                        <p:tav tm="100000">
                                          <p:val>
                                            <p:fltVal val="1"/>
                                          </p:val>
                                        </p:tav>
                                      </p:tavLst>
                                    </p:anim>
                                    <p:anim calcmode="lin" valueType="num">
                                      <p:cBhvr>
                                        <p:cTn id="83" dur="332" tmFilter="0, 0; 0.125,0.2665; 0.25,0.4; 0.375,0.465; 0.5,0.5;  0.625,0.535; 0.75,0.6; 0.875,0.7335; 1,1">
                                          <p:stCondLst>
                                            <p:cond delay="1324"/>
                                          </p:stCondLst>
                                        </p:cTn>
                                        <p:tgtEl>
                                          <p:spTgt spid="2">
                                            <p:txEl>
                                              <p:pRg st="4" end="4"/>
                                            </p:txEl>
                                          </p:spTgt>
                                        </p:tgtEl>
                                        <p:attrNameLst>
                                          <p:attrName>ppt_y</p:attrName>
                                        </p:attrNameLst>
                                      </p:cBhvr>
                                      <p:tavLst>
                                        <p:tav tm="0" fmla="#ppt_y-sin(pi*$)/27">
                                          <p:val>
                                            <p:fltVal val="0"/>
                                          </p:val>
                                        </p:tav>
                                        <p:tav tm="100000">
                                          <p:val>
                                            <p:fltVal val="1"/>
                                          </p:val>
                                        </p:tav>
                                      </p:tavLst>
                                    </p:anim>
                                    <p:anim calcmode="lin" valueType="num">
                                      <p:cBhvr>
                                        <p:cTn id="84" dur="164" tmFilter="0, 0; 0.125,0.2665; 0.25,0.4; 0.375,0.465; 0.5,0.5;  0.625,0.535; 0.75,0.6; 0.875,0.7335; 1,1">
                                          <p:stCondLst>
                                            <p:cond delay="1656"/>
                                          </p:stCondLst>
                                        </p:cTn>
                                        <p:tgtEl>
                                          <p:spTgt spid="2">
                                            <p:txEl>
                                              <p:pRg st="4" end="4"/>
                                            </p:txEl>
                                          </p:spTgt>
                                        </p:tgtEl>
                                        <p:attrNameLst>
                                          <p:attrName>ppt_y</p:attrName>
                                        </p:attrNameLst>
                                      </p:cBhvr>
                                      <p:tavLst>
                                        <p:tav tm="0" fmla="#ppt_y-sin(pi*$)/81">
                                          <p:val>
                                            <p:fltVal val="0"/>
                                          </p:val>
                                        </p:tav>
                                        <p:tav tm="100000">
                                          <p:val>
                                            <p:fltVal val="1"/>
                                          </p:val>
                                        </p:tav>
                                      </p:tavLst>
                                    </p:anim>
                                    <p:animScale>
                                      <p:cBhvr>
                                        <p:cTn id="85" dur="26">
                                          <p:stCondLst>
                                            <p:cond delay="650"/>
                                          </p:stCondLst>
                                        </p:cTn>
                                        <p:tgtEl>
                                          <p:spTgt spid="2">
                                            <p:txEl>
                                              <p:pRg st="4" end="4"/>
                                            </p:txEl>
                                          </p:spTgt>
                                        </p:tgtEl>
                                      </p:cBhvr>
                                      <p:to x="100000" y="60000"/>
                                    </p:animScale>
                                    <p:animScale>
                                      <p:cBhvr>
                                        <p:cTn id="86" dur="166" decel="50000">
                                          <p:stCondLst>
                                            <p:cond delay="676"/>
                                          </p:stCondLst>
                                        </p:cTn>
                                        <p:tgtEl>
                                          <p:spTgt spid="2">
                                            <p:txEl>
                                              <p:pRg st="4" end="4"/>
                                            </p:txEl>
                                          </p:spTgt>
                                        </p:tgtEl>
                                      </p:cBhvr>
                                      <p:to x="100000" y="100000"/>
                                    </p:animScale>
                                    <p:animScale>
                                      <p:cBhvr>
                                        <p:cTn id="87" dur="26">
                                          <p:stCondLst>
                                            <p:cond delay="1312"/>
                                          </p:stCondLst>
                                        </p:cTn>
                                        <p:tgtEl>
                                          <p:spTgt spid="2">
                                            <p:txEl>
                                              <p:pRg st="4" end="4"/>
                                            </p:txEl>
                                          </p:spTgt>
                                        </p:tgtEl>
                                      </p:cBhvr>
                                      <p:to x="100000" y="80000"/>
                                    </p:animScale>
                                    <p:animScale>
                                      <p:cBhvr>
                                        <p:cTn id="88" dur="166" decel="50000">
                                          <p:stCondLst>
                                            <p:cond delay="1338"/>
                                          </p:stCondLst>
                                        </p:cTn>
                                        <p:tgtEl>
                                          <p:spTgt spid="2">
                                            <p:txEl>
                                              <p:pRg st="4" end="4"/>
                                            </p:txEl>
                                          </p:spTgt>
                                        </p:tgtEl>
                                      </p:cBhvr>
                                      <p:to x="100000" y="100000"/>
                                    </p:animScale>
                                    <p:animScale>
                                      <p:cBhvr>
                                        <p:cTn id="89" dur="26">
                                          <p:stCondLst>
                                            <p:cond delay="1642"/>
                                          </p:stCondLst>
                                        </p:cTn>
                                        <p:tgtEl>
                                          <p:spTgt spid="2">
                                            <p:txEl>
                                              <p:pRg st="4" end="4"/>
                                            </p:txEl>
                                          </p:spTgt>
                                        </p:tgtEl>
                                      </p:cBhvr>
                                      <p:to x="100000" y="90000"/>
                                    </p:animScale>
                                    <p:animScale>
                                      <p:cBhvr>
                                        <p:cTn id="90" dur="166" decel="50000">
                                          <p:stCondLst>
                                            <p:cond delay="1668"/>
                                          </p:stCondLst>
                                        </p:cTn>
                                        <p:tgtEl>
                                          <p:spTgt spid="2">
                                            <p:txEl>
                                              <p:pRg st="4" end="4"/>
                                            </p:txEl>
                                          </p:spTgt>
                                        </p:tgtEl>
                                      </p:cBhvr>
                                      <p:to x="100000" y="100000"/>
                                    </p:animScale>
                                    <p:animScale>
                                      <p:cBhvr>
                                        <p:cTn id="91" dur="26">
                                          <p:stCondLst>
                                            <p:cond delay="1808"/>
                                          </p:stCondLst>
                                        </p:cTn>
                                        <p:tgtEl>
                                          <p:spTgt spid="2">
                                            <p:txEl>
                                              <p:pRg st="4" end="4"/>
                                            </p:txEl>
                                          </p:spTgt>
                                        </p:tgtEl>
                                      </p:cBhvr>
                                      <p:to x="100000" y="95000"/>
                                    </p:animScale>
                                    <p:animScale>
                                      <p:cBhvr>
                                        <p:cTn id="92" dur="166" decel="50000">
                                          <p:stCondLst>
                                            <p:cond delay="1834"/>
                                          </p:stCondLst>
                                        </p:cTn>
                                        <p:tgtEl>
                                          <p:spTgt spid="2">
                                            <p:txEl>
                                              <p:pRg st="4" end="4"/>
                                            </p:txEl>
                                          </p:spTgt>
                                        </p:tgtEl>
                                      </p:cBhvr>
                                      <p:to x="100000" y="100000"/>
                                    </p:animScale>
                                  </p:childTnLst>
                                </p:cTn>
                              </p:par>
                            </p:childTnLst>
                          </p:cTn>
                        </p:par>
                      </p:childTnLst>
                    </p:cTn>
                  </p:par>
                  <p:par>
                    <p:cTn id="93" fill="hold">
                      <p:stCondLst>
                        <p:cond delay="indefinite"/>
                      </p:stCondLst>
                      <p:childTnLst>
                        <p:par>
                          <p:cTn id="94" fill="hold">
                            <p:stCondLst>
                              <p:cond delay="0"/>
                            </p:stCondLst>
                            <p:childTnLst>
                              <p:par>
                                <p:cTn id="95" presetID="26" presetClass="entr" presetSubtype="0" fill="hold" nodeType="clickEffect">
                                  <p:stCondLst>
                                    <p:cond delay="0"/>
                                  </p:stCondLst>
                                  <p:childTnLst>
                                    <p:set>
                                      <p:cBhvr>
                                        <p:cTn id="96" dur="1" fill="hold">
                                          <p:stCondLst>
                                            <p:cond delay="0"/>
                                          </p:stCondLst>
                                        </p:cTn>
                                        <p:tgtEl>
                                          <p:spTgt spid="2">
                                            <p:txEl>
                                              <p:pRg st="5" end="5"/>
                                            </p:txEl>
                                          </p:spTgt>
                                        </p:tgtEl>
                                        <p:attrNameLst>
                                          <p:attrName>style.visibility</p:attrName>
                                        </p:attrNameLst>
                                      </p:cBhvr>
                                      <p:to>
                                        <p:strVal val="visible"/>
                                      </p:to>
                                    </p:set>
                                    <p:animEffect transition="in" filter="wipe(down)">
                                      <p:cBhvr>
                                        <p:cTn id="97" dur="580">
                                          <p:stCondLst>
                                            <p:cond delay="0"/>
                                          </p:stCondLst>
                                        </p:cTn>
                                        <p:tgtEl>
                                          <p:spTgt spid="2">
                                            <p:txEl>
                                              <p:pRg st="5" end="5"/>
                                            </p:txEl>
                                          </p:spTgt>
                                        </p:tgtEl>
                                      </p:cBhvr>
                                    </p:animEffect>
                                    <p:anim calcmode="lin" valueType="num">
                                      <p:cBhvr>
                                        <p:cTn id="98" dur="1822" tmFilter="0,0; 0.14,0.36; 0.43,0.73; 0.71,0.91; 1.0,1.0">
                                          <p:stCondLst>
                                            <p:cond delay="0"/>
                                          </p:stCondLst>
                                        </p:cTn>
                                        <p:tgtEl>
                                          <p:spTgt spid="2">
                                            <p:txEl>
                                              <p:pRg st="5" end="5"/>
                                            </p:txEl>
                                          </p:spTgt>
                                        </p:tgtEl>
                                        <p:attrNameLst>
                                          <p:attrName>ppt_x</p:attrName>
                                        </p:attrNameLst>
                                      </p:cBhvr>
                                      <p:tavLst>
                                        <p:tav tm="0">
                                          <p:val>
                                            <p:strVal val="#ppt_x-0.25"/>
                                          </p:val>
                                        </p:tav>
                                        <p:tav tm="100000">
                                          <p:val>
                                            <p:strVal val="#ppt_x"/>
                                          </p:val>
                                        </p:tav>
                                      </p:tavLst>
                                    </p:anim>
                                    <p:anim calcmode="lin" valueType="num">
                                      <p:cBhvr>
                                        <p:cTn id="99" dur="664" tmFilter="0.0,0.0; 0.25,0.07; 0.50,0.2; 0.75,0.467; 1.0,1.0">
                                          <p:stCondLst>
                                            <p:cond delay="0"/>
                                          </p:stCondLst>
                                        </p:cTn>
                                        <p:tgtEl>
                                          <p:spTgt spid="2">
                                            <p:txEl>
                                              <p:pRg st="5" end="5"/>
                                            </p:txEl>
                                          </p:spTgt>
                                        </p:tgtEl>
                                        <p:attrNameLst>
                                          <p:attrName>ppt_y</p:attrName>
                                        </p:attrNameLst>
                                      </p:cBhvr>
                                      <p:tavLst>
                                        <p:tav tm="0" fmla="#ppt_y-sin(pi*$)/3">
                                          <p:val>
                                            <p:fltVal val="0.5"/>
                                          </p:val>
                                        </p:tav>
                                        <p:tav tm="100000">
                                          <p:val>
                                            <p:fltVal val="1"/>
                                          </p:val>
                                        </p:tav>
                                      </p:tavLst>
                                    </p:anim>
                                    <p:anim calcmode="lin" valueType="num">
                                      <p:cBhvr>
                                        <p:cTn id="100" dur="664" tmFilter="0, 0; 0.125,0.2665; 0.25,0.4; 0.375,0.465; 0.5,0.5;  0.625,0.535; 0.75,0.6; 0.875,0.7335; 1,1">
                                          <p:stCondLst>
                                            <p:cond delay="664"/>
                                          </p:stCondLst>
                                        </p:cTn>
                                        <p:tgtEl>
                                          <p:spTgt spid="2">
                                            <p:txEl>
                                              <p:pRg st="5" end="5"/>
                                            </p:txEl>
                                          </p:spTgt>
                                        </p:tgtEl>
                                        <p:attrNameLst>
                                          <p:attrName>ppt_y</p:attrName>
                                        </p:attrNameLst>
                                      </p:cBhvr>
                                      <p:tavLst>
                                        <p:tav tm="0" fmla="#ppt_y-sin(pi*$)/9">
                                          <p:val>
                                            <p:fltVal val="0"/>
                                          </p:val>
                                        </p:tav>
                                        <p:tav tm="100000">
                                          <p:val>
                                            <p:fltVal val="1"/>
                                          </p:val>
                                        </p:tav>
                                      </p:tavLst>
                                    </p:anim>
                                    <p:anim calcmode="lin" valueType="num">
                                      <p:cBhvr>
                                        <p:cTn id="101" dur="332" tmFilter="0, 0; 0.125,0.2665; 0.25,0.4; 0.375,0.465; 0.5,0.5;  0.625,0.535; 0.75,0.6; 0.875,0.7335; 1,1">
                                          <p:stCondLst>
                                            <p:cond delay="1324"/>
                                          </p:stCondLst>
                                        </p:cTn>
                                        <p:tgtEl>
                                          <p:spTgt spid="2">
                                            <p:txEl>
                                              <p:pRg st="5" end="5"/>
                                            </p:txEl>
                                          </p:spTgt>
                                        </p:tgtEl>
                                        <p:attrNameLst>
                                          <p:attrName>ppt_y</p:attrName>
                                        </p:attrNameLst>
                                      </p:cBhvr>
                                      <p:tavLst>
                                        <p:tav tm="0" fmla="#ppt_y-sin(pi*$)/27">
                                          <p:val>
                                            <p:fltVal val="0"/>
                                          </p:val>
                                        </p:tav>
                                        <p:tav tm="100000">
                                          <p:val>
                                            <p:fltVal val="1"/>
                                          </p:val>
                                        </p:tav>
                                      </p:tavLst>
                                    </p:anim>
                                    <p:anim calcmode="lin" valueType="num">
                                      <p:cBhvr>
                                        <p:cTn id="102" dur="164" tmFilter="0, 0; 0.125,0.2665; 0.25,0.4; 0.375,0.465; 0.5,0.5;  0.625,0.535; 0.75,0.6; 0.875,0.7335; 1,1">
                                          <p:stCondLst>
                                            <p:cond delay="1656"/>
                                          </p:stCondLst>
                                        </p:cTn>
                                        <p:tgtEl>
                                          <p:spTgt spid="2">
                                            <p:txEl>
                                              <p:pRg st="5" end="5"/>
                                            </p:txEl>
                                          </p:spTgt>
                                        </p:tgtEl>
                                        <p:attrNameLst>
                                          <p:attrName>ppt_y</p:attrName>
                                        </p:attrNameLst>
                                      </p:cBhvr>
                                      <p:tavLst>
                                        <p:tav tm="0" fmla="#ppt_y-sin(pi*$)/81">
                                          <p:val>
                                            <p:fltVal val="0"/>
                                          </p:val>
                                        </p:tav>
                                        <p:tav tm="100000">
                                          <p:val>
                                            <p:fltVal val="1"/>
                                          </p:val>
                                        </p:tav>
                                      </p:tavLst>
                                    </p:anim>
                                    <p:animScale>
                                      <p:cBhvr>
                                        <p:cTn id="103" dur="26">
                                          <p:stCondLst>
                                            <p:cond delay="650"/>
                                          </p:stCondLst>
                                        </p:cTn>
                                        <p:tgtEl>
                                          <p:spTgt spid="2">
                                            <p:txEl>
                                              <p:pRg st="5" end="5"/>
                                            </p:txEl>
                                          </p:spTgt>
                                        </p:tgtEl>
                                      </p:cBhvr>
                                      <p:to x="100000" y="60000"/>
                                    </p:animScale>
                                    <p:animScale>
                                      <p:cBhvr>
                                        <p:cTn id="104" dur="166" decel="50000">
                                          <p:stCondLst>
                                            <p:cond delay="676"/>
                                          </p:stCondLst>
                                        </p:cTn>
                                        <p:tgtEl>
                                          <p:spTgt spid="2">
                                            <p:txEl>
                                              <p:pRg st="5" end="5"/>
                                            </p:txEl>
                                          </p:spTgt>
                                        </p:tgtEl>
                                      </p:cBhvr>
                                      <p:to x="100000" y="100000"/>
                                    </p:animScale>
                                    <p:animScale>
                                      <p:cBhvr>
                                        <p:cTn id="105" dur="26">
                                          <p:stCondLst>
                                            <p:cond delay="1312"/>
                                          </p:stCondLst>
                                        </p:cTn>
                                        <p:tgtEl>
                                          <p:spTgt spid="2">
                                            <p:txEl>
                                              <p:pRg st="5" end="5"/>
                                            </p:txEl>
                                          </p:spTgt>
                                        </p:tgtEl>
                                      </p:cBhvr>
                                      <p:to x="100000" y="80000"/>
                                    </p:animScale>
                                    <p:animScale>
                                      <p:cBhvr>
                                        <p:cTn id="106" dur="166" decel="50000">
                                          <p:stCondLst>
                                            <p:cond delay="1338"/>
                                          </p:stCondLst>
                                        </p:cTn>
                                        <p:tgtEl>
                                          <p:spTgt spid="2">
                                            <p:txEl>
                                              <p:pRg st="5" end="5"/>
                                            </p:txEl>
                                          </p:spTgt>
                                        </p:tgtEl>
                                      </p:cBhvr>
                                      <p:to x="100000" y="100000"/>
                                    </p:animScale>
                                    <p:animScale>
                                      <p:cBhvr>
                                        <p:cTn id="107" dur="26">
                                          <p:stCondLst>
                                            <p:cond delay="1642"/>
                                          </p:stCondLst>
                                        </p:cTn>
                                        <p:tgtEl>
                                          <p:spTgt spid="2">
                                            <p:txEl>
                                              <p:pRg st="5" end="5"/>
                                            </p:txEl>
                                          </p:spTgt>
                                        </p:tgtEl>
                                      </p:cBhvr>
                                      <p:to x="100000" y="90000"/>
                                    </p:animScale>
                                    <p:animScale>
                                      <p:cBhvr>
                                        <p:cTn id="108" dur="166" decel="50000">
                                          <p:stCondLst>
                                            <p:cond delay="1668"/>
                                          </p:stCondLst>
                                        </p:cTn>
                                        <p:tgtEl>
                                          <p:spTgt spid="2">
                                            <p:txEl>
                                              <p:pRg st="5" end="5"/>
                                            </p:txEl>
                                          </p:spTgt>
                                        </p:tgtEl>
                                      </p:cBhvr>
                                      <p:to x="100000" y="100000"/>
                                    </p:animScale>
                                    <p:animScale>
                                      <p:cBhvr>
                                        <p:cTn id="109" dur="26">
                                          <p:stCondLst>
                                            <p:cond delay="1808"/>
                                          </p:stCondLst>
                                        </p:cTn>
                                        <p:tgtEl>
                                          <p:spTgt spid="2">
                                            <p:txEl>
                                              <p:pRg st="5" end="5"/>
                                            </p:txEl>
                                          </p:spTgt>
                                        </p:tgtEl>
                                      </p:cBhvr>
                                      <p:to x="100000" y="95000"/>
                                    </p:animScale>
                                    <p:animScale>
                                      <p:cBhvr>
                                        <p:cTn id="110" dur="166" decel="50000">
                                          <p:stCondLst>
                                            <p:cond delay="1834"/>
                                          </p:stCondLst>
                                        </p:cTn>
                                        <p:tgtEl>
                                          <p:spTgt spid="2">
                                            <p:txEl>
                                              <p:pRg st="5" end="5"/>
                                            </p:txEl>
                                          </p:spTgt>
                                        </p:tgtEl>
                                      </p:cBhvr>
                                      <p:to x="100000" y="100000"/>
                                    </p:animScale>
                                  </p:childTnLst>
                                </p:cTn>
                              </p:par>
                            </p:childTnLst>
                          </p:cTn>
                        </p:par>
                      </p:childTnLst>
                    </p:cTn>
                  </p:par>
                  <p:par>
                    <p:cTn id="111" fill="hold">
                      <p:stCondLst>
                        <p:cond delay="indefinite"/>
                      </p:stCondLst>
                      <p:childTnLst>
                        <p:par>
                          <p:cTn id="112" fill="hold">
                            <p:stCondLst>
                              <p:cond delay="0"/>
                            </p:stCondLst>
                            <p:childTnLst>
                              <p:par>
                                <p:cTn id="113" presetID="26" presetClass="entr" presetSubtype="0" fill="hold" nodeType="clickEffect">
                                  <p:stCondLst>
                                    <p:cond delay="0"/>
                                  </p:stCondLst>
                                  <p:childTnLst>
                                    <p:set>
                                      <p:cBhvr>
                                        <p:cTn id="114" dur="1" fill="hold">
                                          <p:stCondLst>
                                            <p:cond delay="0"/>
                                          </p:stCondLst>
                                        </p:cTn>
                                        <p:tgtEl>
                                          <p:spTgt spid="2">
                                            <p:txEl>
                                              <p:pRg st="6" end="6"/>
                                            </p:txEl>
                                          </p:spTgt>
                                        </p:tgtEl>
                                        <p:attrNameLst>
                                          <p:attrName>style.visibility</p:attrName>
                                        </p:attrNameLst>
                                      </p:cBhvr>
                                      <p:to>
                                        <p:strVal val="visible"/>
                                      </p:to>
                                    </p:set>
                                    <p:animEffect transition="in" filter="wipe(down)">
                                      <p:cBhvr>
                                        <p:cTn id="115" dur="580">
                                          <p:stCondLst>
                                            <p:cond delay="0"/>
                                          </p:stCondLst>
                                        </p:cTn>
                                        <p:tgtEl>
                                          <p:spTgt spid="2">
                                            <p:txEl>
                                              <p:pRg st="6" end="6"/>
                                            </p:txEl>
                                          </p:spTgt>
                                        </p:tgtEl>
                                      </p:cBhvr>
                                    </p:animEffect>
                                    <p:anim calcmode="lin" valueType="num">
                                      <p:cBhvr>
                                        <p:cTn id="116" dur="1822" tmFilter="0,0; 0.14,0.36; 0.43,0.73; 0.71,0.91; 1.0,1.0">
                                          <p:stCondLst>
                                            <p:cond delay="0"/>
                                          </p:stCondLst>
                                        </p:cTn>
                                        <p:tgtEl>
                                          <p:spTgt spid="2">
                                            <p:txEl>
                                              <p:pRg st="6" end="6"/>
                                            </p:txEl>
                                          </p:spTgt>
                                        </p:tgtEl>
                                        <p:attrNameLst>
                                          <p:attrName>ppt_x</p:attrName>
                                        </p:attrNameLst>
                                      </p:cBhvr>
                                      <p:tavLst>
                                        <p:tav tm="0">
                                          <p:val>
                                            <p:strVal val="#ppt_x-0.25"/>
                                          </p:val>
                                        </p:tav>
                                        <p:tav tm="100000">
                                          <p:val>
                                            <p:strVal val="#ppt_x"/>
                                          </p:val>
                                        </p:tav>
                                      </p:tavLst>
                                    </p:anim>
                                    <p:anim calcmode="lin" valueType="num">
                                      <p:cBhvr>
                                        <p:cTn id="117" dur="664" tmFilter="0.0,0.0; 0.25,0.07; 0.50,0.2; 0.75,0.467; 1.0,1.0">
                                          <p:stCondLst>
                                            <p:cond delay="0"/>
                                          </p:stCondLst>
                                        </p:cTn>
                                        <p:tgtEl>
                                          <p:spTgt spid="2">
                                            <p:txEl>
                                              <p:pRg st="6" end="6"/>
                                            </p:txEl>
                                          </p:spTgt>
                                        </p:tgtEl>
                                        <p:attrNameLst>
                                          <p:attrName>ppt_y</p:attrName>
                                        </p:attrNameLst>
                                      </p:cBhvr>
                                      <p:tavLst>
                                        <p:tav tm="0" fmla="#ppt_y-sin(pi*$)/3">
                                          <p:val>
                                            <p:fltVal val="0.5"/>
                                          </p:val>
                                        </p:tav>
                                        <p:tav tm="100000">
                                          <p:val>
                                            <p:fltVal val="1"/>
                                          </p:val>
                                        </p:tav>
                                      </p:tavLst>
                                    </p:anim>
                                    <p:anim calcmode="lin" valueType="num">
                                      <p:cBhvr>
                                        <p:cTn id="118" dur="664" tmFilter="0, 0; 0.125,0.2665; 0.25,0.4; 0.375,0.465; 0.5,0.5;  0.625,0.535; 0.75,0.6; 0.875,0.7335; 1,1">
                                          <p:stCondLst>
                                            <p:cond delay="664"/>
                                          </p:stCondLst>
                                        </p:cTn>
                                        <p:tgtEl>
                                          <p:spTgt spid="2">
                                            <p:txEl>
                                              <p:pRg st="6" end="6"/>
                                            </p:txEl>
                                          </p:spTgt>
                                        </p:tgtEl>
                                        <p:attrNameLst>
                                          <p:attrName>ppt_y</p:attrName>
                                        </p:attrNameLst>
                                      </p:cBhvr>
                                      <p:tavLst>
                                        <p:tav tm="0" fmla="#ppt_y-sin(pi*$)/9">
                                          <p:val>
                                            <p:fltVal val="0"/>
                                          </p:val>
                                        </p:tav>
                                        <p:tav tm="100000">
                                          <p:val>
                                            <p:fltVal val="1"/>
                                          </p:val>
                                        </p:tav>
                                      </p:tavLst>
                                    </p:anim>
                                    <p:anim calcmode="lin" valueType="num">
                                      <p:cBhvr>
                                        <p:cTn id="119" dur="332" tmFilter="0, 0; 0.125,0.2665; 0.25,0.4; 0.375,0.465; 0.5,0.5;  0.625,0.535; 0.75,0.6; 0.875,0.7335; 1,1">
                                          <p:stCondLst>
                                            <p:cond delay="1324"/>
                                          </p:stCondLst>
                                        </p:cTn>
                                        <p:tgtEl>
                                          <p:spTgt spid="2">
                                            <p:txEl>
                                              <p:pRg st="6" end="6"/>
                                            </p:txEl>
                                          </p:spTgt>
                                        </p:tgtEl>
                                        <p:attrNameLst>
                                          <p:attrName>ppt_y</p:attrName>
                                        </p:attrNameLst>
                                      </p:cBhvr>
                                      <p:tavLst>
                                        <p:tav tm="0" fmla="#ppt_y-sin(pi*$)/27">
                                          <p:val>
                                            <p:fltVal val="0"/>
                                          </p:val>
                                        </p:tav>
                                        <p:tav tm="100000">
                                          <p:val>
                                            <p:fltVal val="1"/>
                                          </p:val>
                                        </p:tav>
                                      </p:tavLst>
                                    </p:anim>
                                    <p:anim calcmode="lin" valueType="num">
                                      <p:cBhvr>
                                        <p:cTn id="120" dur="164" tmFilter="0, 0; 0.125,0.2665; 0.25,0.4; 0.375,0.465; 0.5,0.5;  0.625,0.535; 0.75,0.6; 0.875,0.7335; 1,1">
                                          <p:stCondLst>
                                            <p:cond delay="1656"/>
                                          </p:stCondLst>
                                        </p:cTn>
                                        <p:tgtEl>
                                          <p:spTgt spid="2">
                                            <p:txEl>
                                              <p:pRg st="6" end="6"/>
                                            </p:txEl>
                                          </p:spTgt>
                                        </p:tgtEl>
                                        <p:attrNameLst>
                                          <p:attrName>ppt_y</p:attrName>
                                        </p:attrNameLst>
                                      </p:cBhvr>
                                      <p:tavLst>
                                        <p:tav tm="0" fmla="#ppt_y-sin(pi*$)/81">
                                          <p:val>
                                            <p:fltVal val="0"/>
                                          </p:val>
                                        </p:tav>
                                        <p:tav tm="100000">
                                          <p:val>
                                            <p:fltVal val="1"/>
                                          </p:val>
                                        </p:tav>
                                      </p:tavLst>
                                    </p:anim>
                                    <p:animScale>
                                      <p:cBhvr>
                                        <p:cTn id="121" dur="26">
                                          <p:stCondLst>
                                            <p:cond delay="650"/>
                                          </p:stCondLst>
                                        </p:cTn>
                                        <p:tgtEl>
                                          <p:spTgt spid="2">
                                            <p:txEl>
                                              <p:pRg st="6" end="6"/>
                                            </p:txEl>
                                          </p:spTgt>
                                        </p:tgtEl>
                                      </p:cBhvr>
                                      <p:to x="100000" y="60000"/>
                                    </p:animScale>
                                    <p:animScale>
                                      <p:cBhvr>
                                        <p:cTn id="122" dur="166" decel="50000">
                                          <p:stCondLst>
                                            <p:cond delay="676"/>
                                          </p:stCondLst>
                                        </p:cTn>
                                        <p:tgtEl>
                                          <p:spTgt spid="2">
                                            <p:txEl>
                                              <p:pRg st="6" end="6"/>
                                            </p:txEl>
                                          </p:spTgt>
                                        </p:tgtEl>
                                      </p:cBhvr>
                                      <p:to x="100000" y="100000"/>
                                    </p:animScale>
                                    <p:animScale>
                                      <p:cBhvr>
                                        <p:cTn id="123" dur="26">
                                          <p:stCondLst>
                                            <p:cond delay="1312"/>
                                          </p:stCondLst>
                                        </p:cTn>
                                        <p:tgtEl>
                                          <p:spTgt spid="2">
                                            <p:txEl>
                                              <p:pRg st="6" end="6"/>
                                            </p:txEl>
                                          </p:spTgt>
                                        </p:tgtEl>
                                      </p:cBhvr>
                                      <p:to x="100000" y="80000"/>
                                    </p:animScale>
                                    <p:animScale>
                                      <p:cBhvr>
                                        <p:cTn id="124" dur="166" decel="50000">
                                          <p:stCondLst>
                                            <p:cond delay="1338"/>
                                          </p:stCondLst>
                                        </p:cTn>
                                        <p:tgtEl>
                                          <p:spTgt spid="2">
                                            <p:txEl>
                                              <p:pRg st="6" end="6"/>
                                            </p:txEl>
                                          </p:spTgt>
                                        </p:tgtEl>
                                      </p:cBhvr>
                                      <p:to x="100000" y="100000"/>
                                    </p:animScale>
                                    <p:animScale>
                                      <p:cBhvr>
                                        <p:cTn id="125" dur="26">
                                          <p:stCondLst>
                                            <p:cond delay="1642"/>
                                          </p:stCondLst>
                                        </p:cTn>
                                        <p:tgtEl>
                                          <p:spTgt spid="2">
                                            <p:txEl>
                                              <p:pRg st="6" end="6"/>
                                            </p:txEl>
                                          </p:spTgt>
                                        </p:tgtEl>
                                      </p:cBhvr>
                                      <p:to x="100000" y="90000"/>
                                    </p:animScale>
                                    <p:animScale>
                                      <p:cBhvr>
                                        <p:cTn id="126" dur="166" decel="50000">
                                          <p:stCondLst>
                                            <p:cond delay="1668"/>
                                          </p:stCondLst>
                                        </p:cTn>
                                        <p:tgtEl>
                                          <p:spTgt spid="2">
                                            <p:txEl>
                                              <p:pRg st="6" end="6"/>
                                            </p:txEl>
                                          </p:spTgt>
                                        </p:tgtEl>
                                      </p:cBhvr>
                                      <p:to x="100000" y="100000"/>
                                    </p:animScale>
                                    <p:animScale>
                                      <p:cBhvr>
                                        <p:cTn id="127" dur="26">
                                          <p:stCondLst>
                                            <p:cond delay="1808"/>
                                          </p:stCondLst>
                                        </p:cTn>
                                        <p:tgtEl>
                                          <p:spTgt spid="2">
                                            <p:txEl>
                                              <p:pRg st="6" end="6"/>
                                            </p:txEl>
                                          </p:spTgt>
                                        </p:tgtEl>
                                      </p:cBhvr>
                                      <p:to x="100000" y="95000"/>
                                    </p:animScale>
                                    <p:animScale>
                                      <p:cBhvr>
                                        <p:cTn id="128" dur="166" decel="50000">
                                          <p:stCondLst>
                                            <p:cond delay="1834"/>
                                          </p:stCondLst>
                                        </p:cTn>
                                        <p:tgtEl>
                                          <p:spTgt spid="2">
                                            <p:txEl>
                                              <p:pRg st="6" end="6"/>
                                            </p:txEl>
                                          </p:spTgt>
                                        </p:tgtEl>
                                      </p:cBhvr>
                                      <p:to x="100000" y="100000"/>
                                    </p:animScale>
                                  </p:childTnLst>
                                </p:cTn>
                              </p:par>
                            </p:childTnLst>
                          </p:cTn>
                        </p:par>
                      </p:childTnLst>
                    </p:cTn>
                  </p:par>
                  <p:par>
                    <p:cTn id="129" fill="hold">
                      <p:stCondLst>
                        <p:cond delay="indefinite"/>
                      </p:stCondLst>
                      <p:childTnLst>
                        <p:par>
                          <p:cTn id="130" fill="hold">
                            <p:stCondLst>
                              <p:cond delay="0"/>
                            </p:stCondLst>
                            <p:childTnLst>
                              <p:par>
                                <p:cTn id="131" presetID="26" presetClass="entr" presetSubtype="0" fill="hold" nodeType="clickEffect">
                                  <p:stCondLst>
                                    <p:cond delay="0"/>
                                  </p:stCondLst>
                                  <p:childTnLst>
                                    <p:set>
                                      <p:cBhvr>
                                        <p:cTn id="132" dur="1" fill="hold">
                                          <p:stCondLst>
                                            <p:cond delay="0"/>
                                          </p:stCondLst>
                                        </p:cTn>
                                        <p:tgtEl>
                                          <p:spTgt spid="2">
                                            <p:txEl>
                                              <p:pRg st="7" end="7"/>
                                            </p:txEl>
                                          </p:spTgt>
                                        </p:tgtEl>
                                        <p:attrNameLst>
                                          <p:attrName>style.visibility</p:attrName>
                                        </p:attrNameLst>
                                      </p:cBhvr>
                                      <p:to>
                                        <p:strVal val="visible"/>
                                      </p:to>
                                    </p:set>
                                    <p:animEffect transition="in" filter="wipe(down)">
                                      <p:cBhvr>
                                        <p:cTn id="133" dur="580">
                                          <p:stCondLst>
                                            <p:cond delay="0"/>
                                          </p:stCondLst>
                                        </p:cTn>
                                        <p:tgtEl>
                                          <p:spTgt spid="2">
                                            <p:txEl>
                                              <p:pRg st="7" end="7"/>
                                            </p:txEl>
                                          </p:spTgt>
                                        </p:tgtEl>
                                      </p:cBhvr>
                                    </p:animEffect>
                                    <p:anim calcmode="lin" valueType="num">
                                      <p:cBhvr>
                                        <p:cTn id="134" dur="1822" tmFilter="0,0; 0.14,0.36; 0.43,0.73; 0.71,0.91; 1.0,1.0">
                                          <p:stCondLst>
                                            <p:cond delay="0"/>
                                          </p:stCondLst>
                                        </p:cTn>
                                        <p:tgtEl>
                                          <p:spTgt spid="2">
                                            <p:txEl>
                                              <p:pRg st="7" end="7"/>
                                            </p:txEl>
                                          </p:spTgt>
                                        </p:tgtEl>
                                        <p:attrNameLst>
                                          <p:attrName>ppt_x</p:attrName>
                                        </p:attrNameLst>
                                      </p:cBhvr>
                                      <p:tavLst>
                                        <p:tav tm="0">
                                          <p:val>
                                            <p:strVal val="#ppt_x-0.25"/>
                                          </p:val>
                                        </p:tav>
                                        <p:tav tm="100000">
                                          <p:val>
                                            <p:strVal val="#ppt_x"/>
                                          </p:val>
                                        </p:tav>
                                      </p:tavLst>
                                    </p:anim>
                                    <p:anim calcmode="lin" valueType="num">
                                      <p:cBhvr>
                                        <p:cTn id="135" dur="664" tmFilter="0.0,0.0; 0.25,0.07; 0.50,0.2; 0.75,0.467; 1.0,1.0">
                                          <p:stCondLst>
                                            <p:cond delay="0"/>
                                          </p:stCondLst>
                                        </p:cTn>
                                        <p:tgtEl>
                                          <p:spTgt spid="2">
                                            <p:txEl>
                                              <p:pRg st="7" end="7"/>
                                            </p:txEl>
                                          </p:spTgt>
                                        </p:tgtEl>
                                        <p:attrNameLst>
                                          <p:attrName>ppt_y</p:attrName>
                                        </p:attrNameLst>
                                      </p:cBhvr>
                                      <p:tavLst>
                                        <p:tav tm="0" fmla="#ppt_y-sin(pi*$)/3">
                                          <p:val>
                                            <p:fltVal val="0.5"/>
                                          </p:val>
                                        </p:tav>
                                        <p:tav tm="100000">
                                          <p:val>
                                            <p:fltVal val="1"/>
                                          </p:val>
                                        </p:tav>
                                      </p:tavLst>
                                    </p:anim>
                                    <p:anim calcmode="lin" valueType="num">
                                      <p:cBhvr>
                                        <p:cTn id="136" dur="664" tmFilter="0, 0; 0.125,0.2665; 0.25,0.4; 0.375,0.465; 0.5,0.5;  0.625,0.535; 0.75,0.6; 0.875,0.7335; 1,1">
                                          <p:stCondLst>
                                            <p:cond delay="664"/>
                                          </p:stCondLst>
                                        </p:cTn>
                                        <p:tgtEl>
                                          <p:spTgt spid="2">
                                            <p:txEl>
                                              <p:pRg st="7" end="7"/>
                                            </p:txEl>
                                          </p:spTgt>
                                        </p:tgtEl>
                                        <p:attrNameLst>
                                          <p:attrName>ppt_y</p:attrName>
                                        </p:attrNameLst>
                                      </p:cBhvr>
                                      <p:tavLst>
                                        <p:tav tm="0" fmla="#ppt_y-sin(pi*$)/9">
                                          <p:val>
                                            <p:fltVal val="0"/>
                                          </p:val>
                                        </p:tav>
                                        <p:tav tm="100000">
                                          <p:val>
                                            <p:fltVal val="1"/>
                                          </p:val>
                                        </p:tav>
                                      </p:tavLst>
                                    </p:anim>
                                    <p:anim calcmode="lin" valueType="num">
                                      <p:cBhvr>
                                        <p:cTn id="137" dur="332" tmFilter="0, 0; 0.125,0.2665; 0.25,0.4; 0.375,0.465; 0.5,0.5;  0.625,0.535; 0.75,0.6; 0.875,0.7335; 1,1">
                                          <p:stCondLst>
                                            <p:cond delay="1324"/>
                                          </p:stCondLst>
                                        </p:cTn>
                                        <p:tgtEl>
                                          <p:spTgt spid="2">
                                            <p:txEl>
                                              <p:pRg st="7" end="7"/>
                                            </p:txEl>
                                          </p:spTgt>
                                        </p:tgtEl>
                                        <p:attrNameLst>
                                          <p:attrName>ppt_y</p:attrName>
                                        </p:attrNameLst>
                                      </p:cBhvr>
                                      <p:tavLst>
                                        <p:tav tm="0" fmla="#ppt_y-sin(pi*$)/27">
                                          <p:val>
                                            <p:fltVal val="0"/>
                                          </p:val>
                                        </p:tav>
                                        <p:tav tm="100000">
                                          <p:val>
                                            <p:fltVal val="1"/>
                                          </p:val>
                                        </p:tav>
                                      </p:tavLst>
                                    </p:anim>
                                    <p:anim calcmode="lin" valueType="num">
                                      <p:cBhvr>
                                        <p:cTn id="138" dur="164" tmFilter="0, 0; 0.125,0.2665; 0.25,0.4; 0.375,0.465; 0.5,0.5;  0.625,0.535; 0.75,0.6; 0.875,0.7335; 1,1">
                                          <p:stCondLst>
                                            <p:cond delay="1656"/>
                                          </p:stCondLst>
                                        </p:cTn>
                                        <p:tgtEl>
                                          <p:spTgt spid="2">
                                            <p:txEl>
                                              <p:pRg st="7" end="7"/>
                                            </p:txEl>
                                          </p:spTgt>
                                        </p:tgtEl>
                                        <p:attrNameLst>
                                          <p:attrName>ppt_y</p:attrName>
                                        </p:attrNameLst>
                                      </p:cBhvr>
                                      <p:tavLst>
                                        <p:tav tm="0" fmla="#ppt_y-sin(pi*$)/81">
                                          <p:val>
                                            <p:fltVal val="0"/>
                                          </p:val>
                                        </p:tav>
                                        <p:tav tm="100000">
                                          <p:val>
                                            <p:fltVal val="1"/>
                                          </p:val>
                                        </p:tav>
                                      </p:tavLst>
                                    </p:anim>
                                    <p:animScale>
                                      <p:cBhvr>
                                        <p:cTn id="139" dur="26">
                                          <p:stCondLst>
                                            <p:cond delay="650"/>
                                          </p:stCondLst>
                                        </p:cTn>
                                        <p:tgtEl>
                                          <p:spTgt spid="2">
                                            <p:txEl>
                                              <p:pRg st="7" end="7"/>
                                            </p:txEl>
                                          </p:spTgt>
                                        </p:tgtEl>
                                      </p:cBhvr>
                                      <p:to x="100000" y="60000"/>
                                    </p:animScale>
                                    <p:animScale>
                                      <p:cBhvr>
                                        <p:cTn id="140" dur="166" decel="50000">
                                          <p:stCondLst>
                                            <p:cond delay="676"/>
                                          </p:stCondLst>
                                        </p:cTn>
                                        <p:tgtEl>
                                          <p:spTgt spid="2">
                                            <p:txEl>
                                              <p:pRg st="7" end="7"/>
                                            </p:txEl>
                                          </p:spTgt>
                                        </p:tgtEl>
                                      </p:cBhvr>
                                      <p:to x="100000" y="100000"/>
                                    </p:animScale>
                                    <p:animScale>
                                      <p:cBhvr>
                                        <p:cTn id="141" dur="26">
                                          <p:stCondLst>
                                            <p:cond delay="1312"/>
                                          </p:stCondLst>
                                        </p:cTn>
                                        <p:tgtEl>
                                          <p:spTgt spid="2">
                                            <p:txEl>
                                              <p:pRg st="7" end="7"/>
                                            </p:txEl>
                                          </p:spTgt>
                                        </p:tgtEl>
                                      </p:cBhvr>
                                      <p:to x="100000" y="80000"/>
                                    </p:animScale>
                                    <p:animScale>
                                      <p:cBhvr>
                                        <p:cTn id="142" dur="166" decel="50000">
                                          <p:stCondLst>
                                            <p:cond delay="1338"/>
                                          </p:stCondLst>
                                        </p:cTn>
                                        <p:tgtEl>
                                          <p:spTgt spid="2">
                                            <p:txEl>
                                              <p:pRg st="7" end="7"/>
                                            </p:txEl>
                                          </p:spTgt>
                                        </p:tgtEl>
                                      </p:cBhvr>
                                      <p:to x="100000" y="100000"/>
                                    </p:animScale>
                                    <p:animScale>
                                      <p:cBhvr>
                                        <p:cTn id="143" dur="26">
                                          <p:stCondLst>
                                            <p:cond delay="1642"/>
                                          </p:stCondLst>
                                        </p:cTn>
                                        <p:tgtEl>
                                          <p:spTgt spid="2">
                                            <p:txEl>
                                              <p:pRg st="7" end="7"/>
                                            </p:txEl>
                                          </p:spTgt>
                                        </p:tgtEl>
                                      </p:cBhvr>
                                      <p:to x="100000" y="90000"/>
                                    </p:animScale>
                                    <p:animScale>
                                      <p:cBhvr>
                                        <p:cTn id="144" dur="166" decel="50000">
                                          <p:stCondLst>
                                            <p:cond delay="1668"/>
                                          </p:stCondLst>
                                        </p:cTn>
                                        <p:tgtEl>
                                          <p:spTgt spid="2">
                                            <p:txEl>
                                              <p:pRg st="7" end="7"/>
                                            </p:txEl>
                                          </p:spTgt>
                                        </p:tgtEl>
                                      </p:cBhvr>
                                      <p:to x="100000" y="100000"/>
                                    </p:animScale>
                                    <p:animScale>
                                      <p:cBhvr>
                                        <p:cTn id="145" dur="26">
                                          <p:stCondLst>
                                            <p:cond delay="1808"/>
                                          </p:stCondLst>
                                        </p:cTn>
                                        <p:tgtEl>
                                          <p:spTgt spid="2">
                                            <p:txEl>
                                              <p:pRg st="7" end="7"/>
                                            </p:txEl>
                                          </p:spTgt>
                                        </p:tgtEl>
                                      </p:cBhvr>
                                      <p:to x="100000" y="95000"/>
                                    </p:animScale>
                                    <p:animScale>
                                      <p:cBhvr>
                                        <p:cTn id="146" dur="166" decel="50000">
                                          <p:stCondLst>
                                            <p:cond delay="1834"/>
                                          </p:stCondLst>
                                        </p:cTn>
                                        <p:tgtEl>
                                          <p:spTgt spid="2">
                                            <p:txEl>
                                              <p:pRg st="7" end="7"/>
                                            </p:txEl>
                                          </p:spTgt>
                                        </p:tgtEl>
                                      </p:cBhvr>
                                      <p:to x="100000" y="100000"/>
                                    </p:animScale>
                                  </p:childTnLst>
                                </p:cTn>
                              </p:par>
                            </p:childTnLst>
                          </p:cTn>
                        </p:par>
                      </p:childTnLst>
                    </p:cTn>
                  </p:par>
                  <p:par>
                    <p:cTn id="147" fill="hold">
                      <p:stCondLst>
                        <p:cond delay="indefinite"/>
                      </p:stCondLst>
                      <p:childTnLst>
                        <p:par>
                          <p:cTn id="148" fill="hold">
                            <p:stCondLst>
                              <p:cond delay="0"/>
                            </p:stCondLst>
                            <p:childTnLst>
                              <p:par>
                                <p:cTn id="149" presetID="26" presetClass="entr" presetSubtype="0" fill="hold" nodeType="clickEffect">
                                  <p:stCondLst>
                                    <p:cond delay="0"/>
                                  </p:stCondLst>
                                  <p:childTnLst>
                                    <p:set>
                                      <p:cBhvr>
                                        <p:cTn id="150" dur="1" fill="hold">
                                          <p:stCondLst>
                                            <p:cond delay="0"/>
                                          </p:stCondLst>
                                        </p:cTn>
                                        <p:tgtEl>
                                          <p:spTgt spid="2">
                                            <p:txEl>
                                              <p:pRg st="8" end="8"/>
                                            </p:txEl>
                                          </p:spTgt>
                                        </p:tgtEl>
                                        <p:attrNameLst>
                                          <p:attrName>style.visibility</p:attrName>
                                        </p:attrNameLst>
                                      </p:cBhvr>
                                      <p:to>
                                        <p:strVal val="visible"/>
                                      </p:to>
                                    </p:set>
                                    <p:animEffect transition="in" filter="wipe(down)">
                                      <p:cBhvr>
                                        <p:cTn id="151" dur="580">
                                          <p:stCondLst>
                                            <p:cond delay="0"/>
                                          </p:stCondLst>
                                        </p:cTn>
                                        <p:tgtEl>
                                          <p:spTgt spid="2">
                                            <p:txEl>
                                              <p:pRg st="8" end="8"/>
                                            </p:txEl>
                                          </p:spTgt>
                                        </p:tgtEl>
                                      </p:cBhvr>
                                    </p:animEffect>
                                    <p:anim calcmode="lin" valueType="num">
                                      <p:cBhvr>
                                        <p:cTn id="152" dur="1822" tmFilter="0,0; 0.14,0.36; 0.43,0.73; 0.71,0.91; 1.0,1.0">
                                          <p:stCondLst>
                                            <p:cond delay="0"/>
                                          </p:stCondLst>
                                        </p:cTn>
                                        <p:tgtEl>
                                          <p:spTgt spid="2">
                                            <p:txEl>
                                              <p:pRg st="8" end="8"/>
                                            </p:txEl>
                                          </p:spTgt>
                                        </p:tgtEl>
                                        <p:attrNameLst>
                                          <p:attrName>ppt_x</p:attrName>
                                        </p:attrNameLst>
                                      </p:cBhvr>
                                      <p:tavLst>
                                        <p:tav tm="0">
                                          <p:val>
                                            <p:strVal val="#ppt_x-0.25"/>
                                          </p:val>
                                        </p:tav>
                                        <p:tav tm="100000">
                                          <p:val>
                                            <p:strVal val="#ppt_x"/>
                                          </p:val>
                                        </p:tav>
                                      </p:tavLst>
                                    </p:anim>
                                    <p:anim calcmode="lin" valueType="num">
                                      <p:cBhvr>
                                        <p:cTn id="153" dur="664" tmFilter="0.0,0.0; 0.25,0.07; 0.50,0.2; 0.75,0.467; 1.0,1.0">
                                          <p:stCondLst>
                                            <p:cond delay="0"/>
                                          </p:stCondLst>
                                        </p:cTn>
                                        <p:tgtEl>
                                          <p:spTgt spid="2">
                                            <p:txEl>
                                              <p:pRg st="8" end="8"/>
                                            </p:txEl>
                                          </p:spTgt>
                                        </p:tgtEl>
                                        <p:attrNameLst>
                                          <p:attrName>ppt_y</p:attrName>
                                        </p:attrNameLst>
                                      </p:cBhvr>
                                      <p:tavLst>
                                        <p:tav tm="0" fmla="#ppt_y-sin(pi*$)/3">
                                          <p:val>
                                            <p:fltVal val="0.5"/>
                                          </p:val>
                                        </p:tav>
                                        <p:tav tm="100000">
                                          <p:val>
                                            <p:fltVal val="1"/>
                                          </p:val>
                                        </p:tav>
                                      </p:tavLst>
                                    </p:anim>
                                    <p:anim calcmode="lin" valueType="num">
                                      <p:cBhvr>
                                        <p:cTn id="154" dur="664" tmFilter="0, 0; 0.125,0.2665; 0.25,0.4; 0.375,0.465; 0.5,0.5;  0.625,0.535; 0.75,0.6; 0.875,0.7335; 1,1">
                                          <p:stCondLst>
                                            <p:cond delay="664"/>
                                          </p:stCondLst>
                                        </p:cTn>
                                        <p:tgtEl>
                                          <p:spTgt spid="2">
                                            <p:txEl>
                                              <p:pRg st="8" end="8"/>
                                            </p:txEl>
                                          </p:spTgt>
                                        </p:tgtEl>
                                        <p:attrNameLst>
                                          <p:attrName>ppt_y</p:attrName>
                                        </p:attrNameLst>
                                      </p:cBhvr>
                                      <p:tavLst>
                                        <p:tav tm="0" fmla="#ppt_y-sin(pi*$)/9">
                                          <p:val>
                                            <p:fltVal val="0"/>
                                          </p:val>
                                        </p:tav>
                                        <p:tav tm="100000">
                                          <p:val>
                                            <p:fltVal val="1"/>
                                          </p:val>
                                        </p:tav>
                                      </p:tavLst>
                                    </p:anim>
                                    <p:anim calcmode="lin" valueType="num">
                                      <p:cBhvr>
                                        <p:cTn id="155" dur="332" tmFilter="0, 0; 0.125,0.2665; 0.25,0.4; 0.375,0.465; 0.5,0.5;  0.625,0.535; 0.75,0.6; 0.875,0.7335; 1,1">
                                          <p:stCondLst>
                                            <p:cond delay="1324"/>
                                          </p:stCondLst>
                                        </p:cTn>
                                        <p:tgtEl>
                                          <p:spTgt spid="2">
                                            <p:txEl>
                                              <p:pRg st="8" end="8"/>
                                            </p:txEl>
                                          </p:spTgt>
                                        </p:tgtEl>
                                        <p:attrNameLst>
                                          <p:attrName>ppt_y</p:attrName>
                                        </p:attrNameLst>
                                      </p:cBhvr>
                                      <p:tavLst>
                                        <p:tav tm="0" fmla="#ppt_y-sin(pi*$)/27">
                                          <p:val>
                                            <p:fltVal val="0"/>
                                          </p:val>
                                        </p:tav>
                                        <p:tav tm="100000">
                                          <p:val>
                                            <p:fltVal val="1"/>
                                          </p:val>
                                        </p:tav>
                                      </p:tavLst>
                                    </p:anim>
                                    <p:anim calcmode="lin" valueType="num">
                                      <p:cBhvr>
                                        <p:cTn id="156" dur="164" tmFilter="0, 0; 0.125,0.2665; 0.25,0.4; 0.375,0.465; 0.5,0.5;  0.625,0.535; 0.75,0.6; 0.875,0.7335; 1,1">
                                          <p:stCondLst>
                                            <p:cond delay="1656"/>
                                          </p:stCondLst>
                                        </p:cTn>
                                        <p:tgtEl>
                                          <p:spTgt spid="2">
                                            <p:txEl>
                                              <p:pRg st="8" end="8"/>
                                            </p:txEl>
                                          </p:spTgt>
                                        </p:tgtEl>
                                        <p:attrNameLst>
                                          <p:attrName>ppt_y</p:attrName>
                                        </p:attrNameLst>
                                      </p:cBhvr>
                                      <p:tavLst>
                                        <p:tav tm="0" fmla="#ppt_y-sin(pi*$)/81">
                                          <p:val>
                                            <p:fltVal val="0"/>
                                          </p:val>
                                        </p:tav>
                                        <p:tav tm="100000">
                                          <p:val>
                                            <p:fltVal val="1"/>
                                          </p:val>
                                        </p:tav>
                                      </p:tavLst>
                                    </p:anim>
                                    <p:animScale>
                                      <p:cBhvr>
                                        <p:cTn id="157" dur="26">
                                          <p:stCondLst>
                                            <p:cond delay="650"/>
                                          </p:stCondLst>
                                        </p:cTn>
                                        <p:tgtEl>
                                          <p:spTgt spid="2">
                                            <p:txEl>
                                              <p:pRg st="8" end="8"/>
                                            </p:txEl>
                                          </p:spTgt>
                                        </p:tgtEl>
                                      </p:cBhvr>
                                      <p:to x="100000" y="60000"/>
                                    </p:animScale>
                                    <p:animScale>
                                      <p:cBhvr>
                                        <p:cTn id="158" dur="166" decel="50000">
                                          <p:stCondLst>
                                            <p:cond delay="676"/>
                                          </p:stCondLst>
                                        </p:cTn>
                                        <p:tgtEl>
                                          <p:spTgt spid="2">
                                            <p:txEl>
                                              <p:pRg st="8" end="8"/>
                                            </p:txEl>
                                          </p:spTgt>
                                        </p:tgtEl>
                                      </p:cBhvr>
                                      <p:to x="100000" y="100000"/>
                                    </p:animScale>
                                    <p:animScale>
                                      <p:cBhvr>
                                        <p:cTn id="159" dur="26">
                                          <p:stCondLst>
                                            <p:cond delay="1312"/>
                                          </p:stCondLst>
                                        </p:cTn>
                                        <p:tgtEl>
                                          <p:spTgt spid="2">
                                            <p:txEl>
                                              <p:pRg st="8" end="8"/>
                                            </p:txEl>
                                          </p:spTgt>
                                        </p:tgtEl>
                                      </p:cBhvr>
                                      <p:to x="100000" y="80000"/>
                                    </p:animScale>
                                    <p:animScale>
                                      <p:cBhvr>
                                        <p:cTn id="160" dur="166" decel="50000">
                                          <p:stCondLst>
                                            <p:cond delay="1338"/>
                                          </p:stCondLst>
                                        </p:cTn>
                                        <p:tgtEl>
                                          <p:spTgt spid="2">
                                            <p:txEl>
                                              <p:pRg st="8" end="8"/>
                                            </p:txEl>
                                          </p:spTgt>
                                        </p:tgtEl>
                                      </p:cBhvr>
                                      <p:to x="100000" y="100000"/>
                                    </p:animScale>
                                    <p:animScale>
                                      <p:cBhvr>
                                        <p:cTn id="161" dur="26">
                                          <p:stCondLst>
                                            <p:cond delay="1642"/>
                                          </p:stCondLst>
                                        </p:cTn>
                                        <p:tgtEl>
                                          <p:spTgt spid="2">
                                            <p:txEl>
                                              <p:pRg st="8" end="8"/>
                                            </p:txEl>
                                          </p:spTgt>
                                        </p:tgtEl>
                                      </p:cBhvr>
                                      <p:to x="100000" y="90000"/>
                                    </p:animScale>
                                    <p:animScale>
                                      <p:cBhvr>
                                        <p:cTn id="162" dur="166" decel="50000">
                                          <p:stCondLst>
                                            <p:cond delay="1668"/>
                                          </p:stCondLst>
                                        </p:cTn>
                                        <p:tgtEl>
                                          <p:spTgt spid="2">
                                            <p:txEl>
                                              <p:pRg st="8" end="8"/>
                                            </p:txEl>
                                          </p:spTgt>
                                        </p:tgtEl>
                                      </p:cBhvr>
                                      <p:to x="100000" y="100000"/>
                                    </p:animScale>
                                    <p:animScale>
                                      <p:cBhvr>
                                        <p:cTn id="163" dur="26">
                                          <p:stCondLst>
                                            <p:cond delay="1808"/>
                                          </p:stCondLst>
                                        </p:cTn>
                                        <p:tgtEl>
                                          <p:spTgt spid="2">
                                            <p:txEl>
                                              <p:pRg st="8" end="8"/>
                                            </p:txEl>
                                          </p:spTgt>
                                        </p:tgtEl>
                                      </p:cBhvr>
                                      <p:to x="100000" y="95000"/>
                                    </p:animScale>
                                    <p:animScale>
                                      <p:cBhvr>
                                        <p:cTn id="164" dur="166" decel="50000">
                                          <p:stCondLst>
                                            <p:cond delay="1834"/>
                                          </p:stCondLst>
                                        </p:cTn>
                                        <p:tgtEl>
                                          <p:spTgt spid="2">
                                            <p:txEl>
                                              <p:pRg st="8" end="8"/>
                                            </p:txEl>
                                          </p:spTgt>
                                        </p:tgtEl>
                                      </p:cBhvr>
                                      <p:to x="100000" y="100000"/>
                                    </p:animScale>
                                  </p:childTnLst>
                                </p:cTn>
                              </p:par>
                            </p:childTnLst>
                          </p:cTn>
                        </p:par>
                      </p:childTnLst>
                    </p:cTn>
                  </p:par>
                  <p:par>
                    <p:cTn id="165" fill="hold">
                      <p:stCondLst>
                        <p:cond delay="indefinite"/>
                      </p:stCondLst>
                      <p:childTnLst>
                        <p:par>
                          <p:cTn id="166" fill="hold">
                            <p:stCondLst>
                              <p:cond delay="0"/>
                            </p:stCondLst>
                            <p:childTnLst>
                              <p:par>
                                <p:cTn id="167" presetID="26" presetClass="entr" presetSubtype="0" fill="hold" nodeType="clickEffect">
                                  <p:stCondLst>
                                    <p:cond delay="0"/>
                                  </p:stCondLst>
                                  <p:childTnLst>
                                    <p:set>
                                      <p:cBhvr>
                                        <p:cTn id="168" dur="1" fill="hold">
                                          <p:stCondLst>
                                            <p:cond delay="0"/>
                                          </p:stCondLst>
                                        </p:cTn>
                                        <p:tgtEl>
                                          <p:spTgt spid="2">
                                            <p:txEl>
                                              <p:pRg st="9" end="9"/>
                                            </p:txEl>
                                          </p:spTgt>
                                        </p:tgtEl>
                                        <p:attrNameLst>
                                          <p:attrName>style.visibility</p:attrName>
                                        </p:attrNameLst>
                                      </p:cBhvr>
                                      <p:to>
                                        <p:strVal val="visible"/>
                                      </p:to>
                                    </p:set>
                                    <p:animEffect transition="in" filter="wipe(down)">
                                      <p:cBhvr>
                                        <p:cTn id="169" dur="580">
                                          <p:stCondLst>
                                            <p:cond delay="0"/>
                                          </p:stCondLst>
                                        </p:cTn>
                                        <p:tgtEl>
                                          <p:spTgt spid="2">
                                            <p:txEl>
                                              <p:pRg st="9" end="9"/>
                                            </p:txEl>
                                          </p:spTgt>
                                        </p:tgtEl>
                                      </p:cBhvr>
                                    </p:animEffect>
                                    <p:anim calcmode="lin" valueType="num">
                                      <p:cBhvr>
                                        <p:cTn id="170" dur="1822" tmFilter="0,0; 0.14,0.36; 0.43,0.73; 0.71,0.91; 1.0,1.0">
                                          <p:stCondLst>
                                            <p:cond delay="0"/>
                                          </p:stCondLst>
                                        </p:cTn>
                                        <p:tgtEl>
                                          <p:spTgt spid="2">
                                            <p:txEl>
                                              <p:pRg st="9" end="9"/>
                                            </p:txEl>
                                          </p:spTgt>
                                        </p:tgtEl>
                                        <p:attrNameLst>
                                          <p:attrName>ppt_x</p:attrName>
                                        </p:attrNameLst>
                                      </p:cBhvr>
                                      <p:tavLst>
                                        <p:tav tm="0">
                                          <p:val>
                                            <p:strVal val="#ppt_x-0.25"/>
                                          </p:val>
                                        </p:tav>
                                        <p:tav tm="100000">
                                          <p:val>
                                            <p:strVal val="#ppt_x"/>
                                          </p:val>
                                        </p:tav>
                                      </p:tavLst>
                                    </p:anim>
                                    <p:anim calcmode="lin" valueType="num">
                                      <p:cBhvr>
                                        <p:cTn id="171" dur="664" tmFilter="0.0,0.0; 0.25,0.07; 0.50,0.2; 0.75,0.467; 1.0,1.0">
                                          <p:stCondLst>
                                            <p:cond delay="0"/>
                                          </p:stCondLst>
                                        </p:cTn>
                                        <p:tgtEl>
                                          <p:spTgt spid="2">
                                            <p:txEl>
                                              <p:pRg st="9" end="9"/>
                                            </p:txEl>
                                          </p:spTgt>
                                        </p:tgtEl>
                                        <p:attrNameLst>
                                          <p:attrName>ppt_y</p:attrName>
                                        </p:attrNameLst>
                                      </p:cBhvr>
                                      <p:tavLst>
                                        <p:tav tm="0" fmla="#ppt_y-sin(pi*$)/3">
                                          <p:val>
                                            <p:fltVal val="0.5"/>
                                          </p:val>
                                        </p:tav>
                                        <p:tav tm="100000">
                                          <p:val>
                                            <p:fltVal val="1"/>
                                          </p:val>
                                        </p:tav>
                                      </p:tavLst>
                                    </p:anim>
                                    <p:anim calcmode="lin" valueType="num">
                                      <p:cBhvr>
                                        <p:cTn id="172" dur="664" tmFilter="0, 0; 0.125,0.2665; 0.25,0.4; 0.375,0.465; 0.5,0.5;  0.625,0.535; 0.75,0.6; 0.875,0.7335; 1,1">
                                          <p:stCondLst>
                                            <p:cond delay="664"/>
                                          </p:stCondLst>
                                        </p:cTn>
                                        <p:tgtEl>
                                          <p:spTgt spid="2">
                                            <p:txEl>
                                              <p:pRg st="9" end="9"/>
                                            </p:txEl>
                                          </p:spTgt>
                                        </p:tgtEl>
                                        <p:attrNameLst>
                                          <p:attrName>ppt_y</p:attrName>
                                        </p:attrNameLst>
                                      </p:cBhvr>
                                      <p:tavLst>
                                        <p:tav tm="0" fmla="#ppt_y-sin(pi*$)/9">
                                          <p:val>
                                            <p:fltVal val="0"/>
                                          </p:val>
                                        </p:tav>
                                        <p:tav tm="100000">
                                          <p:val>
                                            <p:fltVal val="1"/>
                                          </p:val>
                                        </p:tav>
                                      </p:tavLst>
                                    </p:anim>
                                    <p:anim calcmode="lin" valueType="num">
                                      <p:cBhvr>
                                        <p:cTn id="173" dur="332" tmFilter="0, 0; 0.125,0.2665; 0.25,0.4; 0.375,0.465; 0.5,0.5;  0.625,0.535; 0.75,0.6; 0.875,0.7335; 1,1">
                                          <p:stCondLst>
                                            <p:cond delay="1324"/>
                                          </p:stCondLst>
                                        </p:cTn>
                                        <p:tgtEl>
                                          <p:spTgt spid="2">
                                            <p:txEl>
                                              <p:pRg st="9" end="9"/>
                                            </p:txEl>
                                          </p:spTgt>
                                        </p:tgtEl>
                                        <p:attrNameLst>
                                          <p:attrName>ppt_y</p:attrName>
                                        </p:attrNameLst>
                                      </p:cBhvr>
                                      <p:tavLst>
                                        <p:tav tm="0" fmla="#ppt_y-sin(pi*$)/27">
                                          <p:val>
                                            <p:fltVal val="0"/>
                                          </p:val>
                                        </p:tav>
                                        <p:tav tm="100000">
                                          <p:val>
                                            <p:fltVal val="1"/>
                                          </p:val>
                                        </p:tav>
                                      </p:tavLst>
                                    </p:anim>
                                    <p:anim calcmode="lin" valueType="num">
                                      <p:cBhvr>
                                        <p:cTn id="174" dur="164" tmFilter="0, 0; 0.125,0.2665; 0.25,0.4; 0.375,0.465; 0.5,0.5;  0.625,0.535; 0.75,0.6; 0.875,0.7335; 1,1">
                                          <p:stCondLst>
                                            <p:cond delay="1656"/>
                                          </p:stCondLst>
                                        </p:cTn>
                                        <p:tgtEl>
                                          <p:spTgt spid="2">
                                            <p:txEl>
                                              <p:pRg st="9" end="9"/>
                                            </p:txEl>
                                          </p:spTgt>
                                        </p:tgtEl>
                                        <p:attrNameLst>
                                          <p:attrName>ppt_y</p:attrName>
                                        </p:attrNameLst>
                                      </p:cBhvr>
                                      <p:tavLst>
                                        <p:tav tm="0" fmla="#ppt_y-sin(pi*$)/81">
                                          <p:val>
                                            <p:fltVal val="0"/>
                                          </p:val>
                                        </p:tav>
                                        <p:tav tm="100000">
                                          <p:val>
                                            <p:fltVal val="1"/>
                                          </p:val>
                                        </p:tav>
                                      </p:tavLst>
                                    </p:anim>
                                    <p:animScale>
                                      <p:cBhvr>
                                        <p:cTn id="175" dur="26">
                                          <p:stCondLst>
                                            <p:cond delay="650"/>
                                          </p:stCondLst>
                                        </p:cTn>
                                        <p:tgtEl>
                                          <p:spTgt spid="2">
                                            <p:txEl>
                                              <p:pRg st="9" end="9"/>
                                            </p:txEl>
                                          </p:spTgt>
                                        </p:tgtEl>
                                      </p:cBhvr>
                                      <p:to x="100000" y="60000"/>
                                    </p:animScale>
                                    <p:animScale>
                                      <p:cBhvr>
                                        <p:cTn id="176" dur="166" decel="50000">
                                          <p:stCondLst>
                                            <p:cond delay="676"/>
                                          </p:stCondLst>
                                        </p:cTn>
                                        <p:tgtEl>
                                          <p:spTgt spid="2">
                                            <p:txEl>
                                              <p:pRg st="9" end="9"/>
                                            </p:txEl>
                                          </p:spTgt>
                                        </p:tgtEl>
                                      </p:cBhvr>
                                      <p:to x="100000" y="100000"/>
                                    </p:animScale>
                                    <p:animScale>
                                      <p:cBhvr>
                                        <p:cTn id="177" dur="26">
                                          <p:stCondLst>
                                            <p:cond delay="1312"/>
                                          </p:stCondLst>
                                        </p:cTn>
                                        <p:tgtEl>
                                          <p:spTgt spid="2">
                                            <p:txEl>
                                              <p:pRg st="9" end="9"/>
                                            </p:txEl>
                                          </p:spTgt>
                                        </p:tgtEl>
                                      </p:cBhvr>
                                      <p:to x="100000" y="80000"/>
                                    </p:animScale>
                                    <p:animScale>
                                      <p:cBhvr>
                                        <p:cTn id="178" dur="166" decel="50000">
                                          <p:stCondLst>
                                            <p:cond delay="1338"/>
                                          </p:stCondLst>
                                        </p:cTn>
                                        <p:tgtEl>
                                          <p:spTgt spid="2">
                                            <p:txEl>
                                              <p:pRg st="9" end="9"/>
                                            </p:txEl>
                                          </p:spTgt>
                                        </p:tgtEl>
                                      </p:cBhvr>
                                      <p:to x="100000" y="100000"/>
                                    </p:animScale>
                                    <p:animScale>
                                      <p:cBhvr>
                                        <p:cTn id="179" dur="26">
                                          <p:stCondLst>
                                            <p:cond delay="1642"/>
                                          </p:stCondLst>
                                        </p:cTn>
                                        <p:tgtEl>
                                          <p:spTgt spid="2">
                                            <p:txEl>
                                              <p:pRg st="9" end="9"/>
                                            </p:txEl>
                                          </p:spTgt>
                                        </p:tgtEl>
                                      </p:cBhvr>
                                      <p:to x="100000" y="90000"/>
                                    </p:animScale>
                                    <p:animScale>
                                      <p:cBhvr>
                                        <p:cTn id="180" dur="166" decel="50000">
                                          <p:stCondLst>
                                            <p:cond delay="1668"/>
                                          </p:stCondLst>
                                        </p:cTn>
                                        <p:tgtEl>
                                          <p:spTgt spid="2">
                                            <p:txEl>
                                              <p:pRg st="9" end="9"/>
                                            </p:txEl>
                                          </p:spTgt>
                                        </p:tgtEl>
                                      </p:cBhvr>
                                      <p:to x="100000" y="100000"/>
                                    </p:animScale>
                                    <p:animScale>
                                      <p:cBhvr>
                                        <p:cTn id="181" dur="26">
                                          <p:stCondLst>
                                            <p:cond delay="1808"/>
                                          </p:stCondLst>
                                        </p:cTn>
                                        <p:tgtEl>
                                          <p:spTgt spid="2">
                                            <p:txEl>
                                              <p:pRg st="9" end="9"/>
                                            </p:txEl>
                                          </p:spTgt>
                                        </p:tgtEl>
                                      </p:cBhvr>
                                      <p:to x="100000" y="95000"/>
                                    </p:animScale>
                                    <p:animScale>
                                      <p:cBhvr>
                                        <p:cTn id="182" dur="166" decel="50000">
                                          <p:stCondLst>
                                            <p:cond delay="1834"/>
                                          </p:stCondLst>
                                        </p:cTn>
                                        <p:tgtEl>
                                          <p:spTgt spid="2">
                                            <p:txEl>
                                              <p:pRg st="9" end="9"/>
                                            </p:txEl>
                                          </p:spTgt>
                                        </p:tgtEl>
                                      </p:cBhvr>
                                      <p:to x="100000" y="100000"/>
                                    </p:animScale>
                                  </p:childTnLst>
                                </p:cTn>
                              </p:par>
                            </p:childTnLst>
                          </p:cTn>
                        </p:par>
                      </p:childTnLst>
                    </p:cTn>
                  </p:par>
                  <p:par>
                    <p:cTn id="183" fill="hold">
                      <p:stCondLst>
                        <p:cond delay="indefinite"/>
                      </p:stCondLst>
                      <p:childTnLst>
                        <p:par>
                          <p:cTn id="184" fill="hold">
                            <p:stCondLst>
                              <p:cond delay="0"/>
                            </p:stCondLst>
                            <p:childTnLst>
                              <p:par>
                                <p:cTn id="185" presetID="26" presetClass="entr" presetSubtype="0" fill="hold" nodeType="clickEffect">
                                  <p:stCondLst>
                                    <p:cond delay="0"/>
                                  </p:stCondLst>
                                  <p:childTnLst>
                                    <p:set>
                                      <p:cBhvr>
                                        <p:cTn id="186" dur="1" fill="hold">
                                          <p:stCondLst>
                                            <p:cond delay="0"/>
                                          </p:stCondLst>
                                        </p:cTn>
                                        <p:tgtEl>
                                          <p:spTgt spid="2">
                                            <p:txEl>
                                              <p:pRg st="10" end="10"/>
                                            </p:txEl>
                                          </p:spTgt>
                                        </p:tgtEl>
                                        <p:attrNameLst>
                                          <p:attrName>style.visibility</p:attrName>
                                        </p:attrNameLst>
                                      </p:cBhvr>
                                      <p:to>
                                        <p:strVal val="visible"/>
                                      </p:to>
                                    </p:set>
                                    <p:animEffect transition="in" filter="wipe(down)">
                                      <p:cBhvr>
                                        <p:cTn id="187" dur="580">
                                          <p:stCondLst>
                                            <p:cond delay="0"/>
                                          </p:stCondLst>
                                        </p:cTn>
                                        <p:tgtEl>
                                          <p:spTgt spid="2">
                                            <p:txEl>
                                              <p:pRg st="10" end="10"/>
                                            </p:txEl>
                                          </p:spTgt>
                                        </p:tgtEl>
                                      </p:cBhvr>
                                    </p:animEffect>
                                    <p:anim calcmode="lin" valueType="num">
                                      <p:cBhvr>
                                        <p:cTn id="188" dur="1822" tmFilter="0,0; 0.14,0.36; 0.43,0.73; 0.71,0.91; 1.0,1.0">
                                          <p:stCondLst>
                                            <p:cond delay="0"/>
                                          </p:stCondLst>
                                        </p:cTn>
                                        <p:tgtEl>
                                          <p:spTgt spid="2">
                                            <p:txEl>
                                              <p:pRg st="10" end="10"/>
                                            </p:txEl>
                                          </p:spTgt>
                                        </p:tgtEl>
                                        <p:attrNameLst>
                                          <p:attrName>ppt_x</p:attrName>
                                        </p:attrNameLst>
                                      </p:cBhvr>
                                      <p:tavLst>
                                        <p:tav tm="0">
                                          <p:val>
                                            <p:strVal val="#ppt_x-0.25"/>
                                          </p:val>
                                        </p:tav>
                                        <p:tav tm="100000">
                                          <p:val>
                                            <p:strVal val="#ppt_x"/>
                                          </p:val>
                                        </p:tav>
                                      </p:tavLst>
                                    </p:anim>
                                    <p:anim calcmode="lin" valueType="num">
                                      <p:cBhvr>
                                        <p:cTn id="189" dur="664" tmFilter="0.0,0.0; 0.25,0.07; 0.50,0.2; 0.75,0.467; 1.0,1.0">
                                          <p:stCondLst>
                                            <p:cond delay="0"/>
                                          </p:stCondLst>
                                        </p:cTn>
                                        <p:tgtEl>
                                          <p:spTgt spid="2">
                                            <p:txEl>
                                              <p:pRg st="10" end="10"/>
                                            </p:txEl>
                                          </p:spTgt>
                                        </p:tgtEl>
                                        <p:attrNameLst>
                                          <p:attrName>ppt_y</p:attrName>
                                        </p:attrNameLst>
                                      </p:cBhvr>
                                      <p:tavLst>
                                        <p:tav tm="0" fmla="#ppt_y-sin(pi*$)/3">
                                          <p:val>
                                            <p:fltVal val="0.5"/>
                                          </p:val>
                                        </p:tav>
                                        <p:tav tm="100000">
                                          <p:val>
                                            <p:fltVal val="1"/>
                                          </p:val>
                                        </p:tav>
                                      </p:tavLst>
                                    </p:anim>
                                    <p:anim calcmode="lin" valueType="num">
                                      <p:cBhvr>
                                        <p:cTn id="190" dur="664" tmFilter="0, 0; 0.125,0.2665; 0.25,0.4; 0.375,0.465; 0.5,0.5;  0.625,0.535; 0.75,0.6; 0.875,0.7335; 1,1">
                                          <p:stCondLst>
                                            <p:cond delay="664"/>
                                          </p:stCondLst>
                                        </p:cTn>
                                        <p:tgtEl>
                                          <p:spTgt spid="2">
                                            <p:txEl>
                                              <p:pRg st="10" end="10"/>
                                            </p:txEl>
                                          </p:spTgt>
                                        </p:tgtEl>
                                        <p:attrNameLst>
                                          <p:attrName>ppt_y</p:attrName>
                                        </p:attrNameLst>
                                      </p:cBhvr>
                                      <p:tavLst>
                                        <p:tav tm="0" fmla="#ppt_y-sin(pi*$)/9">
                                          <p:val>
                                            <p:fltVal val="0"/>
                                          </p:val>
                                        </p:tav>
                                        <p:tav tm="100000">
                                          <p:val>
                                            <p:fltVal val="1"/>
                                          </p:val>
                                        </p:tav>
                                      </p:tavLst>
                                    </p:anim>
                                    <p:anim calcmode="lin" valueType="num">
                                      <p:cBhvr>
                                        <p:cTn id="191" dur="332" tmFilter="0, 0; 0.125,0.2665; 0.25,0.4; 0.375,0.465; 0.5,0.5;  0.625,0.535; 0.75,0.6; 0.875,0.7335; 1,1">
                                          <p:stCondLst>
                                            <p:cond delay="1324"/>
                                          </p:stCondLst>
                                        </p:cTn>
                                        <p:tgtEl>
                                          <p:spTgt spid="2">
                                            <p:txEl>
                                              <p:pRg st="10" end="10"/>
                                            </p:txEl>
                                          </p:spTgt>
                                        </p:tgtEl>
                                        <p:attrNameLst>
                                          <p:attrName>ppt_y</p:attrName>
                                        </p:attrNameLst>
                                      </p:cBhvr>
                                      <p:tavLst>
                                        <p:tav tm="0" fmla="#ppt_y-sin(pi*$)/27">
                                          <p:val>
                                            <p:fltVal val="0"/>
                                          </p:val>
                                        </p:tav>
                                        <p:tav tm="100000">
                                          <p:val>
                                            <p:fltVal val="1"/>
                                          </p:val>
                                        </p:tav>
                                      </p:tavLst>
                                    </p:anim>
                                    <p:anim calcmode="lin" valueType="num">
                                      <p:cBhvr>
                                        <p:cTn id="192" dur="164" tmFilter="0, 0; 0.125,0.2665; 0.25,0.4; 0.375,0.465; 0.5,0.5;  0.625,0.535; 0.75,0.6; 0.875,0.7335; 1,1">
                                          <p:stCondLst>
                                            <p:cond delay="1656"/>
                                          </p:stCondLst>
                                        </p:cTn>
                                        <p:tgtEl>
                                          <p:spTgt spid="2">
                                            <p:txEl>
                                              <p:pRg st="10" end="10"/>
                                            </p:txEl>
                                          </p:spTgt>
                                        </p:tgtEl>
                                        <p:attrNameLst>
                                          <p:attrName>ppt_y</p:attrName>
                                        </p:attrNameLst>
                                      </p:cBhvr>
                                      <p:tavLst>
                                        <p:tav tm="0" fmla="#ppt_y-sin(pi*$)/81">
                                          <p:val>
                                            <p:fltVal val="0"/>
                                          </p:val>
                                        </p:tav>
                                        <p:tav tm="100000">
                                          <p:val>
                                            <p:fltVal val="1"/>
                                          </p:val>
                                        </p:tav>
                                      </p:tavLst>
                                    </p:anim>
                                    <p:animScale>
                                      <p:cBhvr>
                                        <p:cTn id="193" dur="26">
                                          <p:stCondLst>
                                            <p:cond delay="650"/>
                                          </p:stCondLst>
                                        </p:cTn>
                                        <p:tgtEl>
                                          <p:spTgt spid="2">
                                            <p:txEl>
                                              <p:pRg st="10" end="10"/>
                                            </p:txEl>
                                          </p:spTgt>
                                        </p:tgtEl>
                                      </p:cBhvr>
                                      <p:to x="100000" y="60000"/>
                                    </p:animScale>
                                    <p:animScale>
                                      <p:cBhvr>
                                        <p:cTn id="194" dur="166" decel="50000">
                                          <p:stCondLst>
                                            <p:cond delay="676"/>
                                          </p:stCondLst>
                                        </p:cTn>
                                        <p:tgtEl>
                                          <p:spTgt spid="2">
                                            <p:txEl>
                                              <p:pRg st="10" end="10"/>
                                            </p:txEl>
                                          </p:spTgt>
                                        </p:tgtEl>
                                      </p:cBhvr>
                                      <p:to x="100000" y="100000"/>
                                    </p:animScale>
                                    <p:animScale>
                                      <p:cBhvr>
                                        <p:cTn id="195" dur="26">
                                          <p:stCondLst>
                                            <p:cond delay="1312"/>
                                          </p:stCondLst>
                                        </p:cTn>
                                        <p:tgtEl>
                                          <p:spTgt spid="2">
                                            <p:txEl>
                                              <p:pRg st="10" end="10"/>
                                            </p:txEl>
                                          </p:spTgt>
                                        </p:tgtEl>
                                      </p:cBhvr>
                                      <p:to x="100000" y="80000"/>
                                    </p:animScale>
                                    <p:animScale>
                                      <p:cBhvr>
                                        <p:cTn id="196" dur="166" decel="50000">
                                          <p:stCondLst>
                                            <p:cond delay="1338"/>
                                          </p:stCondLst>
                                        </p:cTn>
                                        <p:tgtEl>
                                          <p:spTgt spid="2">
                                            <p:txEl>
                                              <p:pRg st="10" end="10"/>
                                            </p:txEl>
                                          </p:spTgt>
                                        </p:tgtEl>
                                      </p:cBhvr>
                                      <p:to x="100000" y="100000"/>
                                    </p:animScale>
                                    <p:animScale>
                                      <p:cBhvr>
                                        <p:cTn id="197" dur="26">
                                          <p:stCondLst>
                                            <p:cond delay="1642"/>
                                          </p:stCondLst>
                                        </p:cTn>
                                        <p:tgtEl>
                                          <p:spTgt spid="2">
                                            <p:txEl>
                                              <p:pRg st="10" end="10"/>
                                            </p:txEl>
                                          </p:spTgt>
                                        </p:tgtEl>
                                      </p:cBhvr>
                                      <p:to x="100000" y="90000"/>
                                    </p:animScale>
                                    <p:animScale>
                                      <p:cBhvr>
                                        <p:cTn id="198" dur="166" decel="50000">
                                          <p:stCondLst>
                                            <p:cond delay="1668"/>
                                          </p:stCondLst>
                                        </p:cTn>
                                        <p:tgtEl>
                                          <p:spTgt spid="2">
                                            <p:txEl>
                                              <p:pRg st="10" end="10"/>
                                            </p:txEl>
                                          </p:spTgt>
                                        </p:tgtEl>
                                      </p:cBhvr>
                                      <p:to x="100000" y="100000"/>
                                    </p:animScale>
                                    <p:animScale>
                                      <p:cBhvr>
                                        <p:cTn id="199" dur="26">
                                          <p:stCondLst>
                                            <p:cond delay="1808"/>
                                          </p:stCondLst>
                                        </p:cTn>
                                        <p:tgtEl>
                                          <p:spTgt spid="2">
                                            <p:txEl>
                                              <p:pRg st="10" end="10"/>
                                            </p:txEl>
                                          </p:spTgt>
                                        </p:tgtEl>
                                      </p:cBhvr>
                                      <p:to x="100000" y="95000"/>
                                    </p:animScale>
                                    <p:animScale>
                                      <p:cBhvr>
                                        <p:cTn id="200" dur="166" decel="50000">
                                          <p:stCondLst>
                                            <p:cond delay="1834"/>
                                          </p:stCondLst>
                                        </p:cTn>
                                        <p:tgtEl>
                                          <p:spTgt spid="2">
                                            <p:txEl>
                                              <p:pRg st="10" end="10"/>
                                            </p:txEl>
                                          </p:spTgt>
                                        </p:tgtEl>
                                      </p:cBhvr>
                                      <p:to x="100000" y="100000"/>
                                    </p:animScale>
                                  </p:childTnLst>
                                </p:cTn>
                              </p:par>
                            </p:childTnLst>
                          </p:cTn>
                        </p:par>
                      </p:childTnLst>
                    </p:cTn>
                  </p:par>
                  <p:par>
                    <p:cTn id="201" fill="hold">
                      <p:stCondLst>
                        <p:cond delay="indefinite"/>
                      </p:stCondLst>
                      <p:childTnLst>
                        <p:par>
                          <p:cTn id="202" fill="hold">
                            <p:stCondLst>
                              <p:cond delay="0"/>
                            </p:stCondLst>
                            <p:childTnLst>
                              <p:par>
                                <p:cTn id="203" presetID="26" presetClass="entr" presetSubtype="0" fill="hold" nodeType="clickEffect">
                                  <p:stCondLst>
                                    <p:cond delay="0"/>
                                  </p:stCondLst>
                                  <p:childTnLst>
                                    <p:set>
                                      <p:cBhvr>
                                        <p:cTn id="204" dur="1" fill="hold">
                                          <p:stCondLst>
                                            <p:cond delay="0"/>
                                          </p:stCondLst>
                                        </p:cTn>
                                        <p:tgtEl>
                                          <p:spTgt spid="2">
                                            <p:txEl>
                                              <p:pRg st="11" end="11"/>
                                            </p:txEl>
                                          </p:spTgt>
                                        </p:tgtEl>
                                        <p:attrNameLst>
                                          <p:attrName>style.visibility</p:attrName>
                                        </p:attrNameLst>
                                      </p:cBhvr>
                                      <p:to>
                                        <p:strVal val="visible"/>
                                      </p:to>
                                    </p:set>
                                    <p:animEffect transition="in" filter="wipe(down)">
                                      <p:cBhvr>
                                        <p:cTn id="205" dur="580">
                                          <p:stCondLst>
                                            <p:cond delay="0"/>
                                          </p:stCondLst>
                                        </p:cTn>
                                        <p:tgtEl>
                                          <p:spTgt spid="2">
                                            <p:txEl>
                                              <p:pRg st="11" end="11"/>
                                            </p:txEl>
                                          </p:spTgt>
                                        </p:tgtEl>
                                      </p:cBhvr>
                                    </p:animEffect>
                                    <p:anim calcmode="lin" valueType="num">
                                      <p:cBhvr>
                                        <p:cTn id="206" dur="1822" tmFilter="0,0; 0.14,0.36; 0.43,0.73; 0.71,0.91; 1.0,1.0">
                                          <p:stCondLst>
                                            <p:cond delay="0"/>
                                          </p:stCondLst>
                                        </p:cTn>
                                        <p:tgtEl>
                                          <p:spTgt spid="2">
                                            <p:txEl>
                                              <p:pRg st="11" end="11"/>
                                            </p:txEl>
                                          </p:spTgt>
                                        </p:tgtEl>
                                        <p:attrNameLst>
                                          <p:attrName>ppt_x</p:attrName>
                                        </p:attrNameLst>
                                      </p:cBhvr>
                                      <p:tavLst>
                                        <p:tav tm="0">
                                          <p:val>
                                            <p:strVal val="#ppt_x-0.25"/>
                                          </p:val>
                                        </p:tav>
                                        <p:tav tm="100000">
                                          <p:val>
                                            <p:strVal val="#ppt_x"/>
                                          </p:val>
                                        </p:tav>
                                      </p:tavLst>
                                    </p:anim>
                                    <p:anim calcmode="lin" valueType="num">
                                      <p:cBhvr>
                                        <p:cTn id="207" dur="664" tmFilter="0.0,0.0; 0.25,0.07; 0.50,0.2; 0.75,0.467; 1.0,1.0">
                                          <p:stCondLst>
                                            <p:cond delay="0"/>
                                          </p:stCondLst>
                                        </p:cTn>
                                        <p:tgtEl>
                                          <p:spTgt spid="2">
                                            <p:txEl>
                                              <p:pRg st="11" end="11"/>
                                            </p:txEl>
                                          </p:spTgt>
                                        </p:tgtEl>
                                        <p:attrNameLst>
                                          <p:attrName>ppt_y</p:attrName>
                                        </p:attrNameLst>
                                      </p:cBhvr>
                                      <p:tavLst>
                                        <p:tav tm="0" fmla="#ppt_y-sin(pi*$)/3">
                                          <p:val>
                                            <p:fltVal val="0.5"/>
                                          </p:val>
                                        </p:tav>
                                        <p:tav tm="100000">
                                          <p:val>
                                            <p:fltVal val="1"/>
                                          </p:val>
                                        </p:tav>
                                      </p:tavLst>
                                    </p:anim>
                                    <p:anim calcmode="lin" valueType="num">
                                      <p:cBhvr>
                                        <p:cTn id="208" dur="664" tmFilter="0, 0; 0.125,0.2665; 0.25,0.4; 0.375,0.465; 0.5,0.5;  0.625,0.535; 0.75,0.6; 0.875,0.7335; 1,1">
                                          <p:stCondLst>
                                            <p:cond delay="664"/>
                                          </p:stCondLst>
                                        </p:cTn>
                                        <p:tgtEl>
                                          <p:spTgt spid="2">
                                            <p:txEl>
                                              <p:pRg st="11" end="11"/>
                                            </p:txEl>
                                          </p:spTgt>
                                        </p:tgtEl>
                                        <p:attrNameLst>
                                          <p:attrName>ppt_y</p:attrName>
                                        </p:attrNameLst>
                                      </p:cBhvr>
                                      <p:tavLst>
                                        <p:tav tm="0" fmla="#ppt_y-sin(pi*$)/9">
                                          <p:val>
                                            <p:fltVal val="0"/>
                                          </p:val>
                                        </p:tav>
                                        <p:tav tm="100000">
                                          <p:val>
                                            <p:fltVal val="1"/>
                                          </p:val>
                                        </p:tav>
                                      </p:tavLst>
                                    </p:anim>
                                    <p:anim calcmode="lin" valueType="num">
                                      <p:cBhvr>
                                        <p:cTn id="209" dur="332" tmFilter="0, 0; 0.125,0.2665; 0.25,0.4; 0.375,0.465; 0.5,0.5;  0.625,0.535; 0.75,0.6; 0.875,0.7335; 1,1">
                                          <p:stCondLst>
                                            <p:cond delay="1324"/>
                                          </p:stCondLst>
                                        </p:cTn>
                                        <p:tgtEl>
                                          <p:spTgt spid="2">
                                            <p:txEl>
                                              <p:pRg st="11" end="11"/>
                                            </p:txEl>
                                          </p:spTgt>
                                        </p:tgtEl>
                                        <p:attrNameLst>
                                          <p:attrName>ppt_y</p:attrName>
                                        </p:attrNameLst>
                                      </p:cBhvr>
                                      <p:tavLst>
                                        <p:tav tm="0" fmla="#ppt_y-sin(pi*$)/27">
                                          <p:val>
                                            <p:fltVal val="0"/>
                                          </p:val>
                                        </p:tav>
                                        <p:tav tm="100000">
                                          <p:val>
                                            <p:fltVal val="1"/>
                                          </p:val>
                                        </p:tav>
                                      </p:tavLst>
                                    </p:anim>
                                    <p:anim calcmode="lin" valueType="num">
                                      <p:cBhvr>
                                        <p:cTn id="210" dur="164" tmFilter="0, 0; 0.125,0.2665; 0.25,0.4; 0.375,0.465; 0.5,0.5;  0.625,0.535; 0.75,0.6; 0.875,0.7335; 1,1">
                                          <p:stCondLst>
                                            <p:cond delay="1656"/>
                                          </p:stCondLst>
                                        </p:cTn>
                                        <p:tgtEl>
                                          <p:spTgt spid="2">
                                            <p:txEl>
                                              <p:pRg st="11" end="11"/>
                                            </p:txEl>
                                          </p:spTgt>
                                        </p:tgtEl>
                                        <p:attrNameLst>
                                          <p:attrName>ppt_y</p:attrName>
                                        </p:attrNameLst>
                                      </p:cBhvr>
                                      <p:tavLst>
                                        <p:tav tm="0" fmla="#ppt_y-sin(pi*$)/81">
                                          <p:val>
                                            <p:fltVal val="0"/>
                                          </p:val>
                                        </p:tav>
                                        <p:tav tm="100000">
                                          <p:val>
                                            <p:fltVal val="1"/>
                                          </p:val>
                                        </p:tav>
                                      </p:tavLst>
                                    </p:anim>
                                    <p:animScale>
                                      <p:cBhvr>
                                        <p:cTn id="211" dur="26">
                                          <p:stCondLst>
                                            <p:cond delay="650"/>
                                          </p:stCondLst>
                                        </p:cTn>
                                        <p:tgtEl>
                                          <p:spTgt spid="2">
                                            <p:txEl>
                                              <p:pRg st="11" end="11"/>
                                            </p:txEl>
                                          </p:spTgt>
                                        </p:tgtEl>
                                      </p:cBhvr>
                                      <p:to x="100000" y="60000"/>
                                    </p:animScale>
                                    <p:animScale>
                                      <p:cBhvr>
                                        <p:cTn id="212" dur="166" decel="50000">
                                          <p:stCondLst>
                                            <p:cond delay="676"/>
                                          </p:stCondLst>
                                        </p:cTn>
                                        <p:tgtEl>
                                          <p:spTgt spid="2">
                                            <p:txEl>
                                              <p:pRg st="11" end="11"/>
                                            </p:txEl>
                                          </p:spTgt>
                                        </p:tgtEl>
                                      </p:cBhvr>
                                      <p:to x="100000" y="100000"/>
                                    </p:animScale>
                                    <p:animScale>
                                      <p:cBhvr>
                                        <p:cTn id="213" dur="26">
                                          <p:stCondLst>
                                            <p:cond delay="1312"/>
                                          </p:stCondLst>
                                        </p:cTn>
                                        <p:tgtEl>
                                          <p:spTgt spid="2">
                                            <p:txEl>
                                              <p:pRg st="11" end="11"/>
                                            </p:txEl>
                                          </p:spTgt>
                                        </p:tgtEl>
                                      </p:cBhvr>
                                      <p:to x="100000" y="80000"/>
                                    </p:animScale>
                                    <p:animScale>
                                      <p:cBhvr>
                                        <p:cTn id="214" dur="166" decel="50000">
                                          <p:stCondLst>
                                            <p:cond delay="1338"/>
                                          </p:stCondLst>
                                        </p:cTn>
                                        <p:tgtEl>
                                          <p:spTgt spid="2">
                                            <p:txEl>
                                              <p:pRg st="11" end="11"/>
                                            </p:txEl>
                                          </p:spTgt>
                                        </p:tgtEl>
                                      </p:cBhvr>
                                      <p:to x="100000" y="100000"/>
                                    </p:animScale>
                                    <p:animScale>
                                      <p:cBhvr>
                                        <p:cTn id="215" dur="26">
                                          <p:stCondLst>
                                            <p:cond delay="1642"/>
                                          </p:stCondLst>
                                        </p:cTn>
                                        <p:tgtEl>
                                          <p:spTgt spid="2">
                                            <p:txEl>
                                              <p:pRg st="11" end="11"/>
                                            </p:txEl>
                                          </p:spTgt>
                                        </p:tgtEl>
                                      </p:cBhvr>
                                      <p:to x="100000" y="90000"/>
                                    </p:animScale>
                                    <p:animScale>
                                      <p:cBhvr>
                                        <p:cTn id="216" dur="166" decel="50000">
                                          <p:stCondLst>
                                            <p:cond delay="1668"/>
                                          </p:stCondLst>
                                        </p:cTn>
                                        <p:tgtEl>
                                          <p:spTgt spid="2">
                                            <p:txEl>
                                              <p:pRg st="11" end="11"/>
                                            </p:txEl>
                                          </p:spTgt>
                                        </p:tgtEl>
                                      </p:cBhvr>
                                      <p:to x="100000" y="100000"/>
                                    </p:animScale>
                                    <p:animScale>
                                      <p:cBhvr>
                                        <p:cTn id="217" dur="26">
                                          <p:stCondLst>
                                            <p:cond delay="1808"/>
                                          </p:stCondLst>
                                        </p:cTn>
                                        <p:tgtEl>
                                          <p:spTgt spid="2">
                                            <p:txEl>
                                              <p:pRg st="11" end="11"/>
                                            </p:txEl>
                                          </p:spTgt>
                                        </p:tgtEl>
                                      </p:cBhvr>
                                      <p:to x="100000" y="95000"/>
                                    </p:animScale>
                                    <p:animScale>
                                      <p:cBhvr>
                                        <p:cTn id="218" dur="166" decel="50000">
                                          <p:stCondLst>
                                            <p:cond delay="1834"/>
                                          </p:stCondLst>
                                        </p:cTn>
                                        <p:tgtEl>
                                          <p:spTgt spid="2">
                                            <p:txEl>
                                              <p:pRg st="11" end="11"/>
                                            </p:txEl>
                                          </p:spTgt>
                                        </p:tgtEl>
                                      </p:cBhvr>
                                      <p:to x="100000" y="100000"/>
                                    </p:animScale>
                                  </p:childTnLst>
                                </p:cTn>
                              </p:par>
                            </p:childTnLst>
                          </p:cTn>
                        </p:par>
                      </p:childTnLst>
                    </p:cTn>
                  </p:par>
                  <p:par>
                    <p:cTn id="219" fill="hold">
                      <p:stCondLst>
                        <p:cond delay="indefinite"/>
                      </p:stCondLst>
                      <p:childTnLst>
                        <p:par>
                          <p:cTn id="220" fill="hold">
                            <p:stCondLst>
                              <p:cond delay="0"/>
                            </p:stCondLst>
                            <p:childTnLst>
                              <p:par>
                                <p:cTn id="221" presetID="26" presetClass="entr" presetSubtype="0" fill="hold" nodeType="clickEffect">
                                  <p:stCondLst>
                                    <p:cond delay="0"/>
                                  </p:stCondLst>
                                  <p:childTnLst>
                                    <p:set>
                                      <p:cBhvr>
                                        <p:cTn id="222" dur="1" fill="hold">
                                          <p:stCondLst>
                                            <p:cond delay="0"/>
                                          </p:stCondLst>
                                        </p:cTn>
                                        <p:tgtEl>
                                          <p:spTgt spid="2">
                                            <p:txEl>
                                              <p:pRg st="12" end="12"/>
                                            </p:txEl>
                                          </p:spTgt>
                                        </p:tgtEl>
                                        <p:attrNameLst>
                                          <p:attrName>style.visibility</p:attrName>
                                        </p:attrNameLst>
                                      </p:cBhvr>
                                      <p:to>
                                        <p:strVal val="visible"/>
                                      </p:to>
                                    </p:set>
                                    <p:animEffect transition="in" filter="wipe(down)">
                                      <p:cBhvr>
                                        <p:cTn id="223" dur="580">
                                          <p:stCondLst>
                                            <p:cond delay="0"/>
                                          </p:stCondLst>
                                        </p:cTn>
                                        <p:tgtEl>
                                          <p:spTgt spid="2">
                                            <p:txEl>
                                              <p:pRg st="12" end="12"/>
                                            </p:txEl>
                                          </p:spTgt>
                                        </p:tgtEl>
                                      </p:cBhvr>
                                    </p:animEffect>
                                    <p:anim calcmode="lin" valueType="num">
                                      <p:cBhvr>
                                        <p:cTn id="224" dur="1822" tmFilter="0,0; 0.14,0.36; 0.43,0.73; 0.71,0.91; 1.0,1.0">
                                          <p:stCondLst>
                                            <p:cond delay="0"/>
                                          </p:stCondLst>
                                        </p:cTn>
                                        <p:tgtEl>
                                          <p:spTgt spid="2">
                                            <p:txEl>
                                              <p:pRg st="12" end="12"/>
                                            </p:txEl>
                                          </p:spTgt>
                                        </p:tgtEl>
                                        <p:attrNameLst>
                                          <p:attrName>ppt_x</p:attrName>
                                        </p:attrNameLst>
                                      </p:cBhvr>
                                      <p:tavLst>
                                        <p:tav tm="0">
                                          <p:val>
                                            <p:strVal val="#ppt_x-0.25"/>
                                          </p:val>
                                        </p:tav>
                                        <p:tav tm="100000">
                                          <p:val>
                                            <p:strVal val="#ppt_x"/>
                                          </p:val>
                                        </p:tav>
                                      </p:tavLst>
                                    </p:anim>
                                    <p:anim calcmode="lin" valueType="num">
                                      <p:cBhvr>
                                        <p:cTn id="225" dur="664" tmFilter="0.0,0.0; 0.25,0.07; 0.50,0.2; 0.75,0.467; 1.0,1.0">
                                          <p:stCondLst>
                                            <p:cond delay="0"/>
                                          </p:stCondLst>
                                        </p:cTn>
                                        <p:tgtEl>
                                          <p:spTgt spid="2">
                                            <p:txEl>
                                              <p:pRg st="12" end="12"/>
                                            </p:txEl>
                                          </p:spTgt>
                                        </p:tgtEl>
                                        <p:attrNameLst>
                                          <p:attrName>ppt_y</p:attrName>
                                        </p:attrNameLst>
                                      </p:cBhvr>
                                      <p:tavLst>
                                        <p:tav tm="0" fmla="#ppt_y-sin(pi*$)/3">
                                          <p:val>
                                            <p:fltVal val="0.5"/>
                                          </p:val>
                                        </p:tav>
                                        <p:tav tm="100000">
                                          <p:val>
                                            <p:fltVal val="1"/>
                                          </p:val>
                                        </p:tav>
                                      </p:tavLst>
                                    </p:anim>
                                    <p:anim calcmode="lin" valueType="num">
                                      <p:cBhvr>
                                        <p:cTn id="226" dur="664" tmFilter="0, 0; 0.125,0.2665; 0.25,0.4; 0.375,0.465; 0.5,0.5;  0.625,0.535; 0.75,0.6; 0.875,0.7335; 1,1">
                                          <p:stCondLst>
                                            <p:cond delay="664"/>
                                          </p:stCondLst>
                                        </p:cTn>
                                        <p:tgtEl>
                                          <p:spTgt spid="2">
                                            <p:txEl>
                                              <p:pRg st="12" end="12"/>
                                            </p:txEl>
                                          </p:spTgt>
                                        </p:tgtEl>
                                        <p:attrNameLst>
                                          <p:attrName>ppt_y</p:attrName>
                                        </p:attrNameLst>
                                      </p:cBhvr>
                                      <p:tavLst>
                                        <p:tav tm="0" fmla="#ppt_y-sin(pi*$)/9">
                                          <p:val>
                                            <p:fltVal val="0"/>
                                          </p:val>
                                        </p:tav>
                                        <p:tav tm="100000">
                                          <p:val>
                                            <p:fltVal val="1"/>
                                          </p:val>
                                        </p:tav>
                                      </p:tavLst>
                                    </p:anim>
                                    <p:anim calcmode="lin" valueType="num">
                                      <p:cBhvr>
                                        <p:cTn id="227" dur="332" tmFilter="0, 0; 0.125,0.2665; 0.25,0.4; 0.375,0.465; 0.5,0.5;  0.625,0.535; 0.75,0.6; 0.875,0.7335; 1,1">
                                          <p:stCondLst>
                                            <p:cond delay="1324"/>
                                          </p:stCondLst>
                                        </p:cTn>
                                        <p:tgtEl>
                                          <p:spTgt spid="2">
                                            <p:txEl>
                                              <p:pRg st="12" end="12"/>
                                            </p:txEl>
                                          </p:spTgt>
                                        </p:tgtEl>
                                        <p:attrNameLst>
                                          <p:attrName>ppt_y</p:attrName>
                                        </p:attrNameLst>
                                      </p:cBhvr>
                                      <p:tavLst>
                                        <p:tav tm="0" fmla="#ppt_y-sin(pi*$)/27">
                                          <p:val>
                                            <p:fltVal val="0"/>
                                          </p:val>
                                        </p:tav>
                                        <p:tav tm="100000">
                                          <p:val>
                                            <p:fltVal val="1"/>
                                          </p:val>
                                        </p:tav>
                                      </p:tavLst>
                                    </p:anim>
                                    <p:anim calcmode="lin" valueType="num">
                                      <p:cBhvr>
                                        <p:cTn id="228" dur="164" tmFilter="0, 0; 0.125,0.2665; 0.25,0.4; 0.375,0.465; 0.5,0.5;  0.625,0.535; 0.75,0.6; 0.875,0.7335; 1,1">
                                          <p:stCondLst>
                                            <p:cond delay="1656"/>
                                          </p:stCondLst>
                                        </p:cTn>
                                        <p:tgtEl>
                                          <p:spTgt spid="2">
                                            <p:txEl>
                                              <p:pRg st="12" end="12"/>
                                            </p:txEl>
                                          </p:spTgt>
                                        </p:tgtEl>
                                        <p:attrNameLst>
                                          <p:attrName>ppt_y</p:attrName>
                                        </p:attrNameLst>
                                      </p:cBhvr>
                                      <p:tavLst>
                                        <p:tav tm="0" fmla="#ppt_y-sin(pi*$)/81">
                                          <p:val>
                                            <p:fltVal val="0"/>
                                          </p:val>
                                        </p:tav>
                                        <p:tav tm="100000">
                                          <p:val>
                                            <p:fltVal val="1"/>
                                          </p:val>
                                        </p:tav>
                                      </p:tavLst>
                                    </p:anim>
                                    <p:animScale>
                                      <p:cBhvr>
                                        <p:cTn id="229" dur="26">
                                          <p:stCondLst>
                                            <p:cond delay="650"/>
                                          </p:stCondLst>
                                        </p:cTn>
                                        <p:tgtEl>
                                          <p:spTgt spid="2">
                                            <p:txEl>
                                              <p:pRg st="12" end="12"/>
                                            </p:txEl>
                                          </p:spTgt>
                                        </p:tgtEl>
                                      </p:cBhvr>
                                      <p:to x="100000" y="60000"/>
                                    </p:animScale>
                                    <p:animScale>
                                      <p:cBhvr>
                                        <p:cTn id="230" dur="166" decel="50000">
                                          <p:stCondLst>
                                            <p:cond delay="676"/>
                                          </p:stCondLst>
                                        </p:cTn>
                                        <p:tgtEl>
                                          <p:spTgt spid="2">
                                            <p:txEl>
                                              <p:pRg st="12" end="12"/>
                                            </p:txEl>
                                          </p:spTgt>
                                        </p:tgtEl>
                                      </p:cBhvr>
                                      <p:to x="100000" y="100000"/>
                                    </p:animScale>
                                    <p:animScale>
                                      <p:cBhvr>
                                        <p:cTn id="231" dur="26">
                                          <p:stCondLst>
                                            <p:cond delay="1312"/>
                                          </p:stCondLst>
                                        </p:cTn>
                                        <p:tgtEl>
                                          <p:spTgt spid="2">
                                            <p:txEl>
                                              <p:pRg st="12" end="12"/>
                                            </p:txEl>
                                          </p:spTgt>
                                        </p:tgtEl>
                                      </p:cBhvr>
                                      <p:to x="100000" y="80000"/>
                                    </p:animScale>
                                    <p:animScale>
                                      <p:cBhvr>
                                        <p:cTn id="232" dur="166" decel="50000">
                                          <p:stCondLst>
                                            <p:cond delay="1338"/>
                                          </p:stCondLst>
                                        </p:cTn>
                                        <p:tgtEl>
                                          <p:spTgt spid="2">
                                            <p:txEl>
                                              <p:pRg st="12" end="12"/>
                                            </p:txEl>
                                          </p:spTgt>
                                        </p:tgtEl>
                                      </p:cBhvr>
                                      <p:to x="100000" y="100000"/>
                                    </p:animScale>
                                    <p:animScale>
                                      <p:cBhvr>
                                        <p:cTn id="233" dur="26">
                                          <p:stCondLst>
                                            <p:cond delay="1642"/>
                                          </p:stCondLst>
                                        </p:cTn>
                                        <p:tgtEl>
                                          <p:spTgt spid="2">
                                            <p:txEl>
                                              <p:pRg st="12" end="12"/>
                                            </p:txEl>
                                          </p:spTgt>
                                        </p:tgtEl>
                                      </p:cBhvr>
                                      <p:to x="100000" y="90000"/>
                                    </p:animScale>
                                    <p:animScale>
                                      <p:cBhvr>
                                        <p:cTn id="234" dur="166" decel="50000">
                                          <p:stCondLst>
                                            <p:cond delay="1668"/>
                                          </p:stCondLst>
                                        </p:cTn>
                                        <p:tgtEl>
                                          <p:spTgt spid="2">
                                            <p:txEl>
                                              <p:pRg st="12" end="12"/>
                                            </p:txEl>
                                          </p:spTgt>
                                        </p:tgtEl>
                                      </p:cBhvr>
                                      <p:to x="100000" y="100000"/>
                                    </p:animScale>
                                    <p:animScale>
                                      <p:cBhvr>
                                        <p:cTn id="235" dur="26">
                                          <p:stCondLst>
                                            <p:cond delay="1808"/>
                                          </p:stCondLst>
                                        </p:cTn>
                                        <p:tgtEl>
                                          <p:spTgt spid="2">
                                            <p:txEl>
                                              <p:pRg st="12" end="12"/>
                                            </p:txEl>
                                          </p:spTgt>
                                        </p:tgtEl>
                                      </p:cBhvr>
                                      <p:to x="100000" y="95000"/>
                                    </p:animScale>
                                    <p:animScale>
                                      <p:cBhvr>
                                        <p:cTn id="236" dur="166" decel="50000">
                                          <p:stCondLst>
                                            <p:cond delay="1834"/>
                                          </p:stCondLst>
                                        </p:cTn>
                                        <p:tgtEl>
                                          <p:spTgt spid="2">
                                            <p:txEl>
                                              <p:pRg st="12" end="12"/>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2922104" y="577516"/>
            <a:ext cx="6221896" cy="863657"/>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KHẢO SÁT YÊU CẦU VỀ CHỨC NĂNG</a:t>
            </a:r>
            <a:endParaRPr lang="vi-VN" altLang="vi-VN" sz="2600" b="1">
              <a:solidFill>
                <a:srgbClr val="004195"/>
              </a:solidFill>
              <a:latin typeface="Noto Sans"/>
              <a:ea typeface="Noto Sans"/>
              <a:cs typeface="+mn-ea"/>
              <a:sym typeface="Source Han Serif SC" panose="02020700000000000000" pitchFamily="18" charset="-122"/>
            </a:endParaRPr>
          </a:p>
        </p:txBody>
      </p:sp>
      <p:sp>
        <p:nvSpPr>
          <p:cNvPr id="2" name="Rectangle 3">
            <a:extLst>
              <a:ext uri="{FF2B5EF4-FFF2-40B4-BE49-F238E27FC236}">
                <a16:creationId xmlns:a16="http://schemas.microsoft.com/office/drawing/2014/main" id="{40F55A01-C850-6C75-AF67-8A4126D25231}"/>
              </a:ext>
            </a:extLst>
          </p:cNvPr>
          <p:cNvSpPr txBox="1">
            <a:spLocks noChangeArrowheads="1"/>
          </p:cNvSpPr>
          <p:nvPr/>
        </p:nvSpPr>
        <p:spPr bwMode="auto">
          <a:xfrm>
            <a:off x="761999" y="1341437"/>
            <a:ext cx="10886661" cy="5065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indent="-400050">
              <a:spcBef>
                <a:spcPct val="20000"/>
              </a:spcBef>
              <a:buClr>
                <a:schemeClr val="tx2"/>
              </a:buClr>
              <a:buFont typeface="Wingdings" panose="05000000000000000000" pitchFamily="2" charset="2"/>
              <a:buChar char="§"/>
              <a:defRPr sz="2800">
                <a:solidFill>
                  <a:schemeClr val="tx1"/>
                </a:solidFill>
                <a:latin typeface="Arial" panose="020B0604020202020204" pitchFamily="34" charset="0"/>
              </a:defRPr>
            </a:lvl1pPr>
            <a:lvl2pPr marL="342900" indent="-342900">
              <a:spcBef>
                <a:spcPct val="20000"/>
              </a:spcBef>
              <a:buClr>
                <a:schemeClr val="accent1"/>
              </a:buClr>
              <a:buFont typeface="Wingdings" panose="05000000000000000000" pitchFamily="2" charset="2"/>
              <a:buChar char="§"/>
              <a:defRPr sz="2400">
                <a:solidFill>
                  <a:schemeClr val="tx1"/>
                </a:solidFill>
                <a:latin typeface="Arial" panose="020B0604020202020204" pitchFamily="34" charset="0"/>
              </a:defRPr>
            </a:lvl2pPr>
            <a:lvl3pPr marL="1143000" indent="-228600">
              <a:spcBef>
                <a:spcPct val="20000"/>
              </a:spcBef>
              <a:buClr>
                <a:schemeClr val="tx1"/>
              </a:buClr>
              <a:buChar char="•"/>
              <a:defRPr sz="2000">
                <a:solidFill>
                  <a:schemeClr val="tx1"/>
                </a:solidFill>
                <a:latin typeface="Arial" panose="020B0604020202020204" pitchFamily="34" charset="0"/>
              </a:defRPr>
            </a:lvl3pPr>
            <a:lvl4pPr marL="1600200" indent="-228600">
              <a:spcBef>
                <a:spcPct val="20000"/>
              </a:spcBef>
              <a:buChar char="–"/>
              <a:defRPr>
                <a:solidFill>
                  <a:schemeClr val="tx1"/>
                </a:solidFill>
                <a:latin typeface="Arial" panose="020B0604020202020204" pitchFamily="34" charset="0"/>
              </a:defRPr>
            </a:lvl4pPr>
            <a:lvl5pPr marL="2057400" indent="-22860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lvl="1">
              <a:lnSpc>
                <a:spcPct val="150000"/>
              </a:lnSpc>
              <a:buClr>
                <a:schemeClr val="tx2"/>
              </a:buClr>
              <a:buFont typeface="Wingdings" panose="05000000000000000000" pitchFamily="2" charset="2"/>
              <a:buChar char="v"/>
              <a:defRPr/>
            </a:pPr>
            <a:r>
              <a:rPr lang="en-US" sz="1800" b="1">
                <a:latin typeface="Times New Roman" panose="02020603050405020304" pitchFamily="18" charset="0"/>
                <a:cs typeface="Times New Roman" panose="02020603050405020304" pitchFamily="18" charset="0"/>
              </a:rPr>
              <a:t> </a:t>
            </a:r>
            <a:r>
              <a:rPr lang="en-US" sz="2200" b="1" u="sng">
                <a:latin typeface="Times New Roman" panose="02020603050405020304" pitchFamily="18" charset="0"/>
                <a:cs typeface="Times New Roman" panose="02020603050405020304" pitchFamily="18" charset="0"/>
              </a:rPr>
              <a:t>Admin – người quản trị</a:t>
            </a: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Quản</a:t>
            </a:r>
            <a:r>
              <a:rPr lang="vi-VN" sz="1800">
                <a:latin typeface="Times New Roman" panose="02020603050405020304" pitchFamily="18" charset="0"/>
                <a:cs typeface="Times New Roman" panose="02020603050405020304" pitchFamily="18" charset="0"/>
              </a:rPr>
              <a:t> lý thống kê doanh thu (Ngày, tháng) …</a:t>
            </a:r>
            <a:endParaRPr lang="en-US" sz="1800">
              <a:latin typeface="Times New Roman" panose="02020603050405020304" pitchFamily="18" charset="0"/>
              <a:cs typeface="Times New Roman" panose="02020603050405020304" pitchFamily="18" charset="0"/>
            </a:endParaRP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Quản lý danh mục (thêm, sửa, xóa, hiển thị</a:t>
            </a:r>
            <a:r>
              <a:rPr lang="vi-VN" sz="1800">
                <a:latin typeface="Times New Roman" panose="02020603050405020304" pitchFamily="18" charset="0"/>
                <a:cs typeface="Times New Roman" panose="02020603050405020304" pitchFamily="18" charset="0"/>
              </a:rPr>
              <a:t>)</a:t>
            </a:r>
            <a:endParaRPr lang="en-US" sz="1800">
              <a:latin typeface="Times New Roman" panose="02020603050405020304" pitchFamily="18" charset="0"/>
              <a:cs typeface="Times New Roman" panose="02020603050405020304" pitchFamily="18" charset="0"/>
            </a:endParaRP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Quản lý sản phẩm (thêm, sửa, xóa, hiển thị, nổi bật)</a:t>
            </a: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Quản</a:t>
            </a:r>
            <a:r>
              <a:rPr lang="vi-VN" sz="1800">
                <a:latin typeface="Times New Roman" panose="02020603050405020304" pitchFamily="18" charset="0"/>
                <a:cs typeface="Times New Roman" panose="02020603050405020304" pitchFamily="18" charset="0"/>
              </a:rPr>
              <a:t> lý xuất sứ của sản phẩm (thêm, sửa, xoá)</a:t>
            </a:r>
            <a:endParaRPr lang="en-US" sz="1800">
              <a:latin typeface="Times New Roman" panose="02020603050405020304" pitchFamily="18" charset="0"/>
              <a:cs typeface="Times New Roman" panose="02020603050405020304" pitchFamily="18" charset="0"/>
            </a:endParaRP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Quản lý tin tức (thêm, sửa, xóa, hiển thị)</a:t>
            </a: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Quản lý đơn hàng (xem, xóa, tiếp</a:t>
            </a:r>
            <a:r>
              <a:rPr lang="vi-VN" sz="1800">
                <a:latin typeface="Times New Roman" panose="02020603050405020304" pitchFamily="18" charset="0"/>
                <a:cs typeface="Times New Roman" panose="02020603050405020304" pitchFamily="18" charset="0"/>
              </a:rPr>
              <a:t> nhận -&gt; đang bàn giao -&gt; đã bàn giao</a:t>
            </a:r>
            <a:r>
              <a:rPr lang="en-US" sz="1800">
                <a:latin typeface="Times New Roman" panose="02020603050405020304" pitchFamily="18" charset="0"/>
                <a:cs typeface="Times New Roman" panose="02020603050405020304" pitchFamily="18" charset="0"/>
              </a:rPr>
              <a:t>)</a:t>
            </a: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Quản</a:t>
            </a:r>
            <a:r>
              <a:rPr lang="vi-VN" sz="1800">
                <a:latin typeface="Times New Roman" panose="02020603050405020304" pitchFamily="18" charset="0"/>
                <a:cs typeface="Times New Roman" panose="02020603050405020304" pitchFamily="18" charset="0"/>
              </a:rPr>
              <a:t> lý liên hệ</a:t>
            </a:r>
            <a:endParaRPr lang="en-US" sz="1800">
              <a:latin typeface="Times New Roman" panose="02020603050405020304" pitchFamily="18" charset="0"/>
              <a:cs typeface="Times New Roman" panose="02020603050405020304" pitchFamily="18" charset="0"/>
            </a:endParaRP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Quản</a:t>
            </a:r>
            <a:r>
              <a:rPr lang="vi-VN" sz="1800">
                <a:latin typeface="Times New Roman" panose="02020603050405020304" pitchFamily="18" charset="0"/>
                <a:cs typeface="Times New Roman" panose="02020603050405020304" pitchFamily="18" charset="0"/>
              </a:rPr>
              <a:t> lý đánh giá sản phẩm</a:t>
            </a:r>
            <a:endParaRPr lang="en-US" sz="1800">
              <a:latin typeface="Times New Roman" panose="02020603050405020304" pitchFamily="18" charset="0"/>
              <a:cs typeface="Times New Roman" panose="02020603050405020304" pitchFamily="18" charset="0"/>
            </a:endParaRP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Quản</a:t>
            </a:r>
            <a:r>
              <a:rPr lang="vi-VN" sz="1800">
                <a:latin typeface="Times New Roman" panose="02020603050405020304" pitchFamily="18" charset="0"/>
                <a:cs typeface="Times New Roman" panose="02020603050405020304" pitchFamily="18" charset="0"/>
              </a:rPr>
              <a:t> lý thành viên</a:t>
            </a:r>
            <a:endParaRPr lang="en-US" sz="1800">
              <a:latin typeface="Times New Roman" panose="02020603050405020304" pitchFamily="18" charset="0"/>
              <a:cs typeface="Times New Roman" panose="02020603050405020304" pitchFamily="18" charset="0"/>
            </a:endParaRP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Quản</a:t>
            </a:r>
            <a:r>
              <a:rPr lang="vi-VN" sz="1800">
                <a:latin typeface="Times New Roman" panose="02020603050405020304" pitchFamily="18" charset="0"/>
                <a:cs typeface="Times New Roman" panose="02020603050405020304" pitchFamily="18" charset="0"/>
              </a:rPr>
              <a:t> lý ảnh Slide, Event</a:t>
            </a:r>
            <a:endParaRPr lang="en-US" sz="1800">
              <a:latin typeface="Times New Roman" panose="02020603050405020304" pitchFamily="18" charset="0"/>
              <a:cs typeface="Times New Roman" panose="02020603050405020304" pitchFamily="18" charset="0"/>
            </a:endParaRPr>
          </a:p>
          <a:p>
            <a:pPr lvl="2">
              <a:lnSpc>
                <a:spcPct val="150000"/>
              </a:lnSpc>
              <a:spcBef>
                <a:spcPts val="0"/>
              </a:spcBef>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Cập nhật các trang tĩnh trong trang web</a:t>
            </a:r>
          </a:p>
        </p:txBody>
      </p:sp>
    </p:spTree>
    <p:custDataLst>
      <p:tags r:id="rId1"/>
    </p:custDataLst>
    <p:extLst>
      <p:ext uri="{BB962C8B-B14F-4D97-AF65-F5344CB8AC3E}">
        <p14:creationId xmlns:p14="http://schemas.microsoft.com/office/powerpoint/2010/main" val="3876889754"/>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80">
                                          <p:stCondLst>
                                            <p:cond delay="0"/>
                                          </p:stCondLst>
                                        </p:cTn>
                                        <p:tgtEl>
                                          <p:spTgt spid="2">
                                            <p:txEl>
                                              <p:pRg st="0" end="0"/>
                                            </p:txEl>
                                          </p:spTgt>
                                        </p:tgtEl>
                                      </p:cBhvr>
                                    </p:animEffect>
                                    <p:anim calcmode="lin" valueType="num">
                                      <p:cBhvr>
                                        <p:cTn id="8" dur="1822" tmFilter="0,0; 0.14,0.36; 0.43,0.73; 0.71,0.91; 1.0,1.0">
                                          <p:stCondLst>
                                            <p:cond delay="0"/>
                                          </p:stCondLst>
                                        </p:cTn>
                                        <p:tgtEl>
                                          <p:spTgt spid="2">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xEl>
                                              <p:pRg st="0" end="0"/>
                                            </p:txEl>
                                          </p:spTgt>
                                        </p:tgtEl>
                                      </p:cBhvr>
                                      <p:to x="100000" y="60000"/>
                                    </p:animScale>
                                    <p:animScale>
                                      <p:cBhvr>
                                        <p:cTn id="14" dur="166" decel="50000">
                                          <p:stCondLst>
                                            <p:cond delay="676"/>
                                          </p:stCondLst>
                                        </p:cTn>
                                        <p:tgtEl>
                                          <p:spTgt spid="2">
                                            <p:txEl>
                                              <p:pRg st="0" end="0"/>
                                            </p:txEl>
                                          </p:spTgt>
                                        </p:tgtEl>
                                      </p:cBhvr>
                                      <p:to x="100000" y="100000"/>
                                    </p:animScale>
                                    <p:animScale>
                                      <p:cBhvr>
                                        <p:cTn id="15" dur="26">
                                          <p:stCondLst>
                                            <p:cond delay="1312"/>
                                          </p:stCondLst>
                                        </p:cTn>
                                        <p:tgtEl>
                                          <p:spTgt spid="2">
                                            <p:txEl>
                                              <p:pRg st="0" end="0"/>
                                            </p:txEl>
                                          </p:spTgt>
                                        </p:tgtEl>
                                      </p:cBhvr>
                                      <p:to x="100000" y="80000"/>
                                    </p:animScale>
                                    <p:animScale>
                                      <p:cBhvr>
                                        <p:cTn id="16" dur="166" decel="50000">
                                          <p:stCondLst>
                                            <p:cond delay="1338"/>
                                          </p:stCondLst>
                                        </p:cTn>
                                        <p:tgtEl>
                                          <p:spTgt spid="2">
                                            <p:txEl>
                                              <p:pRg st="0" end="0"/>
                                            </p:txEl>
                                          </p:spTgt>
                                        </p:tgtEl>
                                      </p:cBhvr>
                                      <p:to x="100000" y="100000"/>
                                    </p:animScale>
                                    <p:animScale>
                                      <p:cBhvr>
                                        <p:cTn id="17" dur="26">
                                          <p:stCondLst>
                                            <p:cond delay="1642"/>
                                          </p:stCondLst>
                                        </p:cTn>
                                        <p:tgtEl>
                                          <p:spTgt spid="2">
                                            <p:txEl>
                                              <p:pRg st="0" end="0"/>
                                            </p:txEl>
                                          </p:spTgt>
                                        </p:tgtEl>
                                      </p:cBhvr>
                                      <p:to x="100000" y="90000"/>
                                    </p:animScale>
                                    <p:animScale>
                                      <p:cBhvr>
                                        <p:cTn id="18" dur="166" decel="50000">
                                          <p:stCondLst>
                                            <p:cond delay="1668"/>
                                          </p:stCondLst>
                                        </p:cTn>
                                        <p:tgtEl>
                                          <p:spTgt spid="2">
                                            <p:txEl>
                                              <p:pRg st="0" end="0"/>
                                            </p:txEl>
                                          </p:spTgt>
                                        </p:tgtEl>
                                      </p:cBhvr>
                                      <p:to x="100000" y="100000"/>
                                    </p:animScale>
                                    <p:animScale>
                                      <p:cBhvr>
                                        <p:cTn id="19" dur="26">
                                          <p:stCondLst>
                                            <p:cond delay="1808"/>
                                          </p:stCondLst>
                                        </p:cTn>
                                        <p:tgtEl>
                                          <p:spTgt spid="2">
                                            <p:txEl>
                                              <p:pRg st="0" end="0"/>
                                            </p:txEl>
                                          </p:spTgt>
                                        </p:tgtEl>
                                      </p:cBhvr>
                                      <p:to x="100000" y="95000"/>
                                    </p:animScale>
                                    <p:animScale>
                                      <p:cBhvr>
                                        <p:cTn id="20" dur="166" decel="50000">
                                          <p:stCondLst>
                                            <p:cond delay="1834"/>
                                          </p:stCondLst>
                                        </p:cTn>
                                        <p:tgtEl>
                                          <p:spTgt spid="2">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nodeType="clickEffect">
                                  <p:stCondLst>
                                    <p:cond delay="0"/>
                                  </p:stCondLst>
                                  <p:childTnLst>
                                    <p:set>
                                      <p:cBhvr>
                                        <p:cTn id="24" dur="1" fill="hold">
                                          <p:stCondLst>
                                            <p:cond delay="0"/>
                                          </p:stCondLst>
                                        </p:cTn>
                                        <p:tgtEl>
                                          <p:spTgt spid="2">
                                            <p:txEl>
                                              <p:pRg st="1" end="1"/>
                                            </p:txEl>
                                          </p:spTgt>
                                        </p:tgtEl>
                                        <p:attrNameLst>
                                          <p:attrName>style.visibility</p:attrName>
                                        </p:attrNameLst>
                                      </p:cBhvr>
                                      <p:to>
                                        <p:strVal val="visible"/>
                                      </p:to>
                                    </p:set>
                                    <p:animEffect transition="in" filter="wipe(down)">
                                      <p:cBhvr>
                                        <p:cTn id="25" dur="580">
                                          <p:stCondLst>
                                            <p:cond delay="0"/>
                                          </p:stCondLst>
                                        </p:cTn>
                                        <p:tgtEl>
                                          <p:spTgt spid="2">
                                            <p:txEl>
                                              <p:pRg st="1" end="1"/>
                                            </p:txEl>
                                          </p:spTgt>
                                        </p:tgtEl>
                                      </p:cBhvr>
                                    </p:animEffect>
                                    <p:anim calcmode="lin" valueType="num">
                                      <p:cBhvr>
                                        <p:cTn id="26" dur="1822" tmFilter="0,0; 0.14,0.36; 0.43,0.73; 0.71,0.91; 1.0,1.0">
                                          <p:stCondLst>
                                            <p:cond delay="0"/>
                                          </p:stCondLst>
                                        </p:cTn>
                                        <p:tgtEl>
                                          <p:spTgt spid="2">
                                            <p:txEl>
                                              <p:pRg st="1" end="1"/>
                                            </p:txEl>
                                          </p:spTgt>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2">
                                            <p:txEl>
                                              <p:pRg st="1" end="1"/>
                                            </p:txEl>
                                          </p:spTgt>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2">
                                            <p:txEl>
                                              <p:pRg st="1" end="1"/>
                                            </p:txEl>
                                          </p:spTgt>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2">
                                            <p:txEl>
                                              <p:pRg st="1" end="1"/>
                                            </p:txEl>
                                          </p:spTgt>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2">
                                            <p:txEl>
                                              <p:pRg st="1" end="1"/>
                                            </p:txEl>
                                          </p:spTgt>
                                        </p:tgtEl>
                                        <p:attrNameLst>
                                          <p:attrName>ppt_y</p:attrName>
                                        </p:attrNameLst>
                                      </p:cBhvr>
                                      <p:tavLst>
                                        <p:tav tm="0" fmla="#ppt_y-sin(pi*$)/81">
                                          <p:val>
                                            <p:fltVal val="0"/>
                                          </p:val>
                                        </p:tav>
                                        <p:tav tm="100000">
                                          <p:val>
                                            <p:fltVal val="1"/>
                                          </p:val>
                                        </p:tav>
                                      </p:tavLst>
                                    </p:anim>
                                    <p:animScale>
                                      <p:cBhvr>
                                        <p:cTn id="31" dur="26">
                                          <p:stCondLst>
                                            <p:cond delay="650"/>
                                          </p:stCondLst>
                                        </p:cTn>
                                        <p:tgtEl>
                                          <p:spTgt spid="2">
                                            <p:txEl>
                                              <p:pRg st="1" end="1"/>
                                            </p:txEl>
                                          </p:spTgt>
                                        </p:tgtEl>
                                      </p:cBhvr>
                                      <p:to x="100000" y="60000"/>
                                    </p:animScale>
                                    <p:animScale>
                                      <p:cBhvr>
                                        <p:cTn id="32" dur="166" decel="50000">
                                          <p:stCondLst>
                                            <p:cond delay="676"/>
                                          </p:stCondLst>
                                        </p:cTn>
                                        <p:tgtEl>
                                          <p:spTgt spid="2">
                                            <p:txEl>
                                              <p:pRg st="1" end="1"/>
                                            </p:txEl>
                                          </p:spTgt>
                                        </p:tgtEl>
                                      </p:cBhvr>
                                      <p:to x="100000" y="100000"/>
                                    </p:animScale>
                                    <p:animScale>
                                      <p:cBhvr>
                                        <p:cTn id="33" dur="26">
                                          <p:stCondLst>
                                            <p:cond delay="1312"/>
                                          </p:stCondLst>
                                        </p:cTn>
                                        <p:tgtEl>
                                          <p:spTgt spid="2">
                                            <p:txEl>
                                              <p:pRg st="1" end="1"/>
                                            </p:txEl>
                                          </p:spTgt>
                                        </p:tgtEl>
                                      </p:cBhvr>
                                      <p:to x="100000" y="80000"/>
                                    </p:animScale>
                                    <p:animScale>
                                      <p:cBhvr>
                                        <p:cTn id="34" dur="166" decel="50000">
                                          <p:stCondLst>
                                            <p:cond delay="1338"/>
                                          </p:stCondLst>
                                        </p:cTn>
                                        <p:tgtEl>
                                          <p:spTgt spid="2">
                                            <p:txEl>
                                              <p:pRg st="1" end="1"/>
                                            </p:txEl>
                                          </p:spTgt>
                                        </p:tgtEl>
                                      </p:cBhvr>
                                      <p:to x="100000" y="100000"/>
                                    </p:animScale>
                                    <p:animScale>
                                      <p:cBhvr>
                                        <p:cTn id="35" dur="26">
                                          <p:stCondLst>
                                            <p:cond delay="1642"/>
                                          </p:stCondLst>
                                        </p:cTn>
                                        <p:tgtEl>
                                          <p:spTgt spid="2">
                                            <p:txEl>
                                              <p:pRg st="1" end="1"/>
                                            </p:txEl>
                                          </p:spTgt>
                                        </p:tgtEl>
                                      </p:cBhvr>
                                      <p:to x="100000" y="90000"/>
                                    </p:animScale>
                                    <p:animScale>
                                      <p:cBhvr>
                                        <p:cTn id="36" dur="166" decel="50000">
                                          <p:stCondLst>
                                            <p:cond delay="1668"/>
                                          </p:stCondLst>
                                        </p:cTn>
                                        <p:tgtEl>
                                          <p:spTgt spid="2">
                                            <p:txEl>
                                              <p:pRg st="1" end="1"/>
                                            </p:txEl>
                                          </p:spTgt>
                                        </p:tgtEl>
                                      </p:cBhvr>
                                      <p:to x="100000" y="100000"/>
                                    </p:animScale>
                                    <p:animScale>
                                      <p:cBhvr>
                                        <p:cTn id="37" dur="26">
                                          <p:stCondLst>
                                            <p:cond delay="1808"/>
                                          </p:stCondLst>
                                        </p:cTn>
                                        <p:tgtEl>
                                          <p:spTgt spid="2">
                                            <p:txEl>
                                              <p:pRg st="1" end="1"/>
                                            </p:txEl>
                                          </p:spTgt>
                                        </p:tgtEl>
                                      </p:cBhvr>
                                      <p:to x="100000" y="95000"/>
                                    </p:animScale>
                                    <p:animScale>
                                      <p:cBhvr>
                                        <p:cTn id="38" dur="166" decel="50000">
                                          <p:stCondLst>
                                            <p:cond delay="1834"/>
                                          </p:stCondLst>
                                        </p:cTn>
                                        <p:tgtEl>
                                          <p:spTgt spid="2">
                                            <p:txEl>
                                              <p:pRg st="1" end="1"/>
                                            </p:txEl>
                                          </p:spTgt>
                                        </p:tgtEl>
                                      </p:cBhvr>
                                      <p:to x="100000" y="100000"/>
                                    </p:animScale>
                                  </p:childTnLst>
                                </p:cTn>
                              </p:par>
                            </p:childTnLst>
                          </p:cTn>
                        </p:par>
                      </p:childTnLst>
                    </p:cTn>
                  </p:par>
                  <p:par>
                    <p:cTn id="39" fill="hold">
                      <p:stCondLst>
                        <p:cond delay="indefinite"/>
                      </p:stCondLst>
                      <p:childTnLst>
                        <p:par>
                          <p:cTn id="40" fill="hold">
                            <p:stCondLst>
                              <p:cond delay="0"/>
                            </p:stCondLst>
                            <p:childTnLst>
                              <p:par>
                                <p:cTn id="41" presetID="26" presetClass="entr" presetSubtype="0" fill="hold" nodeType="clickEffect">
                                  <p:stCondLst>
                                    <p:cond delay="0"/>
                                  </p:stCondLst>
                                  <p:childTnLst>
                                    <p:set>
                                      <p:cBhvr>
                                        <p:cTn id="42" dur="1" fill="hold">
                                          <p:stCondLst>
                                            <p:cond delay="0"/>
                                          </p:stCondLst>
                                        </p:cTn>
                                        <p:tgtEl>
                                          <p:spTgt spid="2">
                                            <p:txEl>
                                              <p:pRg st="2" end="2"/>
                                            </p:txEl>
                                          </p:spTgt>
                                        </p:tgtEl>
                                        <p:attrNameLst>
                                          <p:attrName>style.visibility</p:attrName>
                                        </p:attrNameLst>
                                      </p:cBhvr>
                                      <p:to>
                                        <p:strVal val="visible"/>
                                      </p:to>
                                    </p:set>
                                    <p:animEffect transition="in" filter="wipe(down)">
                                      <p:cBhvr>
                                        <p:cTn id="43" dur="580">
                                          <p:stCondLst>
                                            <p:cond delay="0"/>
                                          </p:stCondLst>
                                        </p:cTn>
                                        <p:tgtEl>
                                          <p:spTgt spid="2">
                                            <p:txEl>
                                              <p:pRg st="2" end="2"/>
                                            </p:txEl>
                                          </p:spTgt>
                                        </p:tgtEl>
                                      </p:cBhvr>
                                    </p:animEffect>
                                    <p:anim calcmode="lin" valueType="num">
                                      <p:cBhvr>
                                        <p:cTn id="44" dur="1822" tmFilter="0,0; 0.14,0.36; 0.43,0.73; 0.71,0.91; 1.0,1.0">
                                          <p:stCondLst>
                                            <p:cond delay="0"/>
                                          </p:stCondLst>
                                        </p:cTn>
                                        <p:tgtEl>
                                          <p:spTgt spid="2">
                                            <p:txEl>
                                              <p:pRg st="2" end="2"/>
                                            </p:txEl>
                                          </p:spTgt>
                                        </p:tgtEl>
                                        <p:attrNameLst>
                                          <p:attrName>ppt_x</p:attrName>
                                        </p:attrNameLst>
                                      </p:cBhvr>
                                      <p:tavLst>
                                        <p:tav tm="0">
                                          <p:val>
                                            <p:strVal val="#ppt_x-0.25"/>
                                          </p:val>
                                        </p:tav>
                                        <p:tav tm="100000">
                                          <p:val>
                                            <p:strVal val="#ppt_x"/>
                                          </p:val>
                                        </p:tav>
                                      </p:tavLst>
                                    </p:anim>
                                    <p:anim calcmode="lin" valueType="num">
                                      <p:cBhvr>
                                        <p:cTn id="45" dur="664" tmFilter="0.0,0.0; 0.25,0.07; 0.50,0.2; 0.75,0.467; 1.0,1.0">
                                          <p:stCondLst>
                                            <p:cond delay="0"/>
                                          </p:stCondLst>
                                        </p:cTn>
                                        <p:tgtEl>
                                          <p:spTgt spid="2">
                                            <p:txEl>
                                              <p:pRg st="2" end="2"/>
                                            </p:txEl>
                                          </p:spTgt>
                                        </p:tgtEl>
                                        <p:attrNameLst>
                                          <p:attrName>ppt_y</p:attrName>
                                        </p:attrNameLst>
                                      </p:cBhvr>
                                      <p:tavLst>
                                        <p:tav tm="0" fmla="#ppt_y-sin(pi*$)/3">
                                          <p:val>
                                            <p:fltVal val="0.5"/>
                                          </p:val>
                                        </p:tav>
                                        <p:tav tm="100000">
                                          <p:val>
                                            <p:fltVal val="1"/>
                                          </p:val>
                                        </p:tav>
                                      </p:tavLst>
                                    </p:anim>
                                    <p:anim calcmode="lin" valueType="num">
                                      <p:cBhvr>
                                        <p:cTn id="46" dur="664" tmFilter="0, 0; 0.125,0.2665; 0.25,0.4; 0.375,0.465; 0.5,0.5;  0.625,0.535; 0.75,0.6; 0.875,0.7335; 1,1">
                                          <p:stCondLst>
                                            <p:cond delay="664"/>
                                          </p:stCondLst>
                                        </p:cTn>
                                        <p:tgtEl>
                                          <p:spTgt spid="2">
                                            <p:txEl>
                                              <p:pRg st="2" end="2"/>
                                            </p:txEl>
                                          </p:spTgt>
                                        </p:tgtEl>
                                        <p:attrNameLst>
                                          <p:attrName>ppt_y</p:attrName>
                                        </p:attrNameLst>
                                      </p:cBhvr>
                                      <p:tavLst>
                                        <p:tav tm="0" fmla="#ppt_y-sin(pi*$)/9">
                                          <p:val>
                                            <p:fltVal val="0"/>
                                          </p:val>
                                        </p:tav>
                                        <p:tav tm="100000">
                                          <p:val>
                                            <p:fltVal val="1"/>
                                          </p:val>
                                        </p:tav>
                                      </p:tavLst>
                                    </p:anim>
                                    <p:anim calcmode="lin" valueType="num">
                                      <p:cBhvr>
                                        <p:cTn id="47" dur="332" tmFilter="0, 0; 0.125,0.2665; 0.25,0.4; 0.375,0.465; 0.5,0.5;  0.625,0.535; 0.75,0.6; 0.875,0.7335; 1,1">
                                          <p:stCondLst>
                                            <p:cond delay="1324"/>
                                          </p:stCondLst>
                                        </p:cTn>
                                        <p:tgtEl>
                                          <p:spTgt spid="2">
                                            <p:txEl>
                                              <p:pRg st="2" end="2"/>
                                            </p:txEl>
                                          </p:spTgt>
                                        </p:tgtEl>
                                        <p:attrNameLst>
                                          <p:attrName>ppt_y</p:attrName>
                                        </p:attrNameLst>
                                      </p:cBhvr>
                                      <p:tavLst>
                                        <p:tav tm="0" fmla="#ppt_y-sin(pi*$)/27">
                                          <p:val>
                                            <p:fltVal val="0"/>
                                          </p:val>
                                        </p:tav>
                                        <p:tav tm="100000">
                                          <p:val>
                                            <p:fltVal val="1"/>
                                          </p:val>
                                        </p:tav>
                                      </p:tavLst>
                                    </p:anim>
                                    <p:anim calcmode="lin" valueType="num">
                                      <p:cBhvr>
                                        <p:cTn id="48" dur="164" tmFilter="0, 0; 0.125,0.2665; 0.25,0.4; 0.375,0.465; 0.5,0.5;  0.625,0.535; 0.75,0.6; 0.875,0.7335; 1,1">
                                          <p:stCondLst>
                                            <p:cond delay="1656"/>
                                          </p:stCondLst>
                                        </p:cTn>
                                        <p:tgtEl>
                                          <p:spTgt spid="2">
                                            <p:txEl>
                                              <p:pRg st="2" end="2"/>
                                            </p:txEl>
                                          </p:spTgt>
                                        </p:tgtEl>
                                        <p:attrNameLst>
                                          <p:attrName>ppt_y</p:attrName>
                                        </p:attrNameLst>
                                      </p:cBhvr>
                                      <p:tavLst>
                                        <p:tav tm="0" fmla="#ppt_y-sin(pi*$)/81">
                                          <p:val>
                                            <p:fltVal val="0"/>
                                          </p:val>
                                        </p:tav>
                                        <p:tav tm="100000">
                                          <p:val>
                                            <p:fltVal val="1"/>
                                          </p:val>
                                        </p:tav>
                                      </p:tavLst>
                                    </p:anim>
                                    <p:animScale>
                                      <p:cBhvr>
                                        <p:cTn id="49" dur="26">
                                          <p:stCondLst>
                                            <p:cond delay="650"/>
                                          </p:stCondLst>
                                        </p:cTn>
                                        <p:tgtEl>
                                          <p:spTgt spid="2">
                                            <p:txEl>
                                              <p:pRg st="2" end="2"/>
                                            </p:txEl>
                                          </p:spTgt>
                                        </p:tgtEl>
                                      </p:cBhvr>
                                      <p:to x="100000" y="60000"/>
                                    </p:animScale>
                                    <p:animScale>
                                      <p:cBhvr>
                                        <p:cTn id="50" dur="166" decel="50000">
                                          <p:stCondLst>
                                            <p:cond delay="676"/>
                                          </p:stCondLst>
                                        </p:cTn>
                                        <p:tgtEl>
                                          <p:spTgt spid="2">
                                            <p:txEl>
                                              <p:pRg st="2" end="2"/>
                                            </p:txEl>
                                          </p:spTgt>
                                        </p:tgtEl>
                                      </p:cBhvr>
                                      <p:to x="100000" y="100000"/>
                                    </p:animScale>
                                    <p:animScale>
                                      <p:cBhvr>
                                        <p:cTn id="51" dur="26">
                                          <p:stCondLst>
                                            <p:cond delay="1312"/>
                                          </p:stCondLst>
                                        </p:cTn>
                                        <p:tgtEl>
                                          <p:spTgt spid="2">
                                            <p:txEl>
                                              <p:pRg st="2" end="2"/>
                                            </p:txEl>
                                          </p:spTgt>
                                        </p:tgtEl>
                                      </p:cBhvr>
                                      <p:to x="100000" y="80000"/>
                                    </p:animScale>
                                    <p:animScale>
                                      <p:cBhvr>
                                        <p:cTn id="52" dur="166" decel="50000">
                                          <p:stCondLst>
                                            <p:cond delay="1338"/>
                                          </p:stCondLst>
                                        </p:cTn>
                                        <p:tgtEl>
                                          <p:spTgt spid="2">
                                            <p:txEl>
                                              <p:pRg st="2" end="2"/>
                                            </p:txEl>
                                          </p:spTgt>
                                        </p:tgtEl>
                                      </p:cBhvr>
                                      <p:to x="100000" y="100000"/>
                                    </p:animScale>
                                    <p:animScale>
                                      <p:cBhvr>
                                        <p:cTn id="53" dur="26">
                                          <p:stCondLst>
                                            <p:cond delay="1642"/>
                                          </p:stCondLst>
                                        </p:cTn>
                                        <p:tgtEl>
                                          <p:spTgt spid="2">
                                            <p:txEl>
                                              <p:pRg st="2" end="2"/>
                                            </p:txEl>
                                          </p:spTgt>
                                        </p:tgtEl>
                                      </p:cBhvr>
                                      <p:to x="100000" y="90000"/>
                                    </p:animScale>
                                    <p:animScale>
                                      <p:cBhvr>
                                        <p:cTn id="54" dur="166" decel="50000">
                                          <p:stCondLst>
                                            <p:cond delay="1668"/>
                                          </p:stCondLst>
                                        </p:cTn>
                                        <p:tgtEl>
                                          <p:spTgt spid="2">
                                            <p:txEl>
                                              <p:pRg st="2" end="2"/>
                                            </p:txEl>
                                          </p:spTgt>
                                        </p:tgtEl>
                                      </p:cBhvr>
                                      <p:to x="100000" y="100000"/>
                                    </p:animScale>
                                    <p:animScale>
                                      <p:cBhvr>
                                        <p:cTn id="55" dur="26">
                                          <p:stCondLst>
                                            <p:cond delay="1808"/>
                                          </p:stCondLst>
                                        </p:cTn>
                                        <p:tgtEl>
                                          <p:spTgt spid="2">
                                            <p:txEl>
                                              <p:pRg st="2" end="2"/>
                                            </p:txEl>
                                          </p:spTgt>
                                        </p:tgtEl>
                                      </p:cBhvr>
                                      <p:to x="100000" y="95000"/>
                                    </p:animScale>
                                    <p:animScale>
                                      <p:cBhvr>
                                        <p:cTn id="56" dur="166" decel="50000">
                                          <p:stCondLst>
                                            <p:cond delay="1834"/>
                                          </p:stCondLst>
                                        </p:cTn>
                                        <p:tgtEl>
                                          <p:spTgt spid="2">
                                            <p:txEl>
                                              <p:pRg st="2" end="2"/>
                                            </p:txEl>
                                          </p:spTgt>
                                        </p:tgtEl>
                                      </p:cBhvr>
                                      <p:to x="100000" y="100000"/>
                                    </p:animScale>
                                  </p:childTnLst>
                                </p:cTn>
                              </p:par>
                            </p:childTnLst>
                          </p:cTn>
                        </p:par>
                      </p:childTnLst>
                    </p:cTn>
                  </p:par>
                  <p:par>
                    <p:cTn id="57" fill="hold">
                      <p:stCondLst>
                        <p:cond delay="indefinite"/>
                      </p:stCondLst>
                      <p:childTnLst>
                        <p:par>
                          <p:cTn id="58" fill="hold">
                            <p:stCondLst>
                              <p:cond delay="0"/>
                            </p:stCondLst>
                            <p:childTnLst>
                              <p:par>
                                <p:cTn id="59" presetID="26" presetClass="entr" presetSubtype="0" fill="hold" nodeType="clickEffect">
                                  <p:stCondLst>
                                    <p:cond delay="0"/>
                                  </p:stCondLst>
                                  <p:childTnLst>
                                    <p:set>
                                      <p:cBhvr>
                                        <p:cTn id="60" dur="1" fill="hold">
                                          <p:stCondLst>
                                            <p:cond delay="0"/>
                                          </p:stCondLst>
                                        </p:cTn>
                                        <p:tgtEl>
                                          <p:spTgt spid="2">
                                            <p:txEl>
                                              <p:pRg st="3" end="3"/>
                                            </p:txEl>
                                          </p:spTgt>
                                        </p:tgtEl>
                                        <p:attrNameLst>
                                          <p:attrName>style.visibility</p:attrName>
                                        </p:attrNameLst>
                                      </p:cBhvr>
                                      <p:to>
                                        <p:strVal val="visible"/>
                                      </p:to>
                                    </p:set>
                                    <p:animEffect transition="in" filter="wipe(down)">
                                      <p:cBhvr>
                                        <p:cTn id="61" dur="580">
                                          <p:stCondLst>
                                            <p:cond delay="0"/>
                                          </p:stCondLst>
                                        </p:cTn>
                                        <p:tgtEl>
                                          <p:spTgt spid="2">
                                            <p:txEl>
                                              <p:pRg st="3" end="3"/>
                                            </p:txEl>
                                          </p:spTgt>
                                        </p:tgtEl>
                                      </p:cBhvr>
                                    </p:animEffect>
                                    <p:anim calcmode="lin" valueType="num">
                                      <p:cBhvr>
                                        <p:cTn id="62" dur="1822" tmFilter="0,0; 0.14,0.36; 0.43,0.73; 0.71,0.91; 1.0,1.0">
                                          <p:stCondLst>
                                            <p:cond delay="0"/>
                                          </p:stCondLst>
                                        </p:cTn>
                                        <p:tgtEl>
                                          <p:spTgt spid="2">
                                            <p:txEl>
                                              <p:pRg st="3" end="3"/>
                                            </p:txEl>
                                          </p:spTgt>
                                        </p:tgtEl>
                                        <p:attrNameLst>
                                          <p:attrName>ppt_x</p:attrName>
                                        </p:attrNameLst>
                                      </p:cBhvr>
                                      <p:tavLst>
                                        <p:tav tm="0">
                                          <p:val>
                                            <p:strVal val="#ppt_x-0.25"/>
                                          </p:val>
                                        </p:tav>
                                        <p:tav tm="100000">
                                          <p:val>
                                            <p:strVal val="#ppt_x"/>
                                          </p:val>
                                        </p:tav>
                                      </p:tavLst>
                                    </p:anim>
                                    <p:anim calcmode="lin" valueType="num">
                                      <p:cBhvr>
                                        <p:cTn id="63" dur="664" tmFilter="0.0,0.0; 0.25,0.07; 0.50,0.2; 0.75,0.467; 1.0,1.0">
                                          <p:stCondLst>
                                            <p:cond delay="0"/>
                                          </p:stCondLst>
                                        </p:cTn>
                                        <p:tgtEl>
                                          <p:spTgt spid="2">
                                            <p:txEl>
                                              <p:pRg st="3" end="3"/>
                                            </p:txEl>
                                          </p:spTgt>
                                        </p:tgtEl>
                                        <p:attrNameLst>
                                          <p:attrName>ppt_y</p:attrName>
                                        </p:attrNameLst>
                                      </p:cBhvr>
                                      <p:tavLst>
                                        <p:tav tm="0" fmla="#ppt_y-sin(pi*$)/3">
                                          <p:val>
                                            <p:fltVal val="0.5"/>
                                          </p:val>
                                        </p:tav>
                                        <p:tav tm="100000">
                                          <p:val>
                                            <p:fltVal val="1"/>
                                          </p:val>
                                        </p:tav>
                                      </p:tavLst>
                                    </p:anim>
                                    <p:anim calcmode="lin" valueType="num">
                                      <p:cBhvr>
                                        <p:cTn id="64" dur="664" tmFilter="0, 0; 0.125,0.2665; 0.25,0.4; 0.375,0.465; 0.5,0.5;  0.625,0.535; 0.75,0.6; 0.875,0.7335; 1,1">
                                          <p:stCondLst>
                                            <p:cond delay="664"/>
                                          </p:stCondLst>
                                        </p:cTn>
                                        <p:tgtEl>
                                          <p:spTgt spid="2">
                                            <p:txEl>
                                              <p:pRg st="3" end="3"/>
                                            </p:txEl>
                                          </p:spTgt>
                                        </p:tgtEl>
                                        <p:attrNameLst>
                                          <p:attrName>ppt_y</p:attrName>
                                        </p:attrNameLst>
                                      </p:cBhvr>
                                      <p:tavLst>
                                        <p:tav tm="0" fmla="#ppt_y-sin(pi*$)/9">
                                          <p:val>
                                            <p:fltVal val="0"/>
                                          </p:val>
                                        </p:tav>
                                        <p:tav tm="100000">
                                          <p:val>
                                            <p:fltVal val="1"/>
                                          </p:val>
                                        </p:tav>
                                      </p:tavLst>
                                    </p:anim>
                                    <p:anim calcmode="lin" valueType="num">
                                      <p:cBhvr>
                                        <p:cTn id="65" dur="332" tmFilter="0, 0; 0.125,0.2665; 0.25,0.4; 0.375,0.465; 0.5,0.5;  0.625,0.535; 0.75,0.6; 0.875,0.7335; 1,1">
                                          <p:stCondLst>
                                            <p:cond delay="1324"/>
                                          </p:stCondLst>
                                        </p:cTn>
                                        <p:tgtEl>
                                          <p:spTgt spid="2">
                                            <p:txEl>
                                              <p:pRg st="3" end="3"/>
                                            </p:txEl>
                                          </p:spTgt>
                                        </p:tgtEl>
                                        <p:attrNameLst>
                                          <p:attrName>ppt_y</p:attrName>
                                        </p:attrNameLst>
                                      </p:cBhvr>
                                      <p:tavLst>
                                        <p:tav tm="0" fmla="#ppt_y-sin(pi*$)/27">
                                          <p:val>
                                            <p:fltVal val="0"/>
                                          </p:val>
                                        </p:tav>
                                        <p:tav tm="100000">
                                          <p:val>
                                            <p:fltVal val="1"/>
                                          </p:val>
                                        </p:tav>
                                      </p:tavLst>
                                    </p:anim>
                                    <p:anim calcmode="lin" valueType="num">
                                      <p:cBhvr>
                                        <p:cTn id="66" dur="164" tmFilter="0, 0; 0.125,0.2665; 0.25,0.4; 0.375,0.465; 0.5,0.5;  0.625,0.535; 0.75,0.6; 0.875,0.7335; 1,1">
                                          <p:stCondLst>
                                            <p:cond delay="1656"/>
                                          </p:stCondLst>
                                        </p:cTn>
                                        <p:tgtEl>
                                          <p:spTgt spid="2">
                                            <p:txEl>
                                              <p:pRg st="3" end="3"/>
                                            </p:txEl>
                                          </p:spTgt>
                                        </p:tgtEl>
                                        <p:attrNameLst>
                                          <p:attrName>ppt_y</p:attrName>
                                        </p:attrNameLst>
                                      </p:cBhvr>
                                      <p:tavLst>
                                        <p:tav tm="0" fmla="#ppt_y-sin(pi*$)/81">
                                          <p:val>
                                            <p:fltVal val="0"/>
                                          </p:val>
                                        </p:tav>
                                        <p:tav tm="100000">
                                          <p:val>
                                            <p:fltVal val="1"/>
                                          </p:val>
                                        </p:tav>
                                      </p:tavLst>
                                    </p:anim>
                                    <p:animScale>
                                      <p:cBhvr>
                                        <p:cTn id="67" dur="26">
                                          <p:stCondLst>
                                            <p:cond delay="650"/>
                                          </p:stCondLst>
                                        </p:cTn>
                                        <p:tgtEl>
                                          <p:spTgt spid="2">
                                            <p:txEl>
                                              <p:pRg st="3" end="3"/>
                                            </p:txEl>
                                          </p:spTgt>
                                        </p:tgtEl>
                                      </p:cBhvr>
                                      <p:to x="100000" y="60000"/>
                                    </p:animScale>
                                    <p:animScale>
                                      <p:cBhvr>
                                        <p:cTn id="68" dur="166" decel="50000">
                                          <p:stCondLst>
                                            <p:cond delay="676"/>
                                          </p:stCondLst>
                                        </p:cTn>
                                        <p:tgtEl>
                                          <p:spTgt spid="2">
                                            <p:txEl>
                                              <p:pRg st="3" end="3"/>
                                            </p:txEl>
                                          </p:spTgt>
                                        </p:tgtEl>
                                      </p:cBhvr>
                                      <p:to x="100000" y="100000"/>
                                    </p:animScale>
                                    <p:animScale>
                                      <p:cBhvr>
                                        <p:cTn id="69" dur="26">
                                          <p:stCondLst>
                                            <p:cond delay="1312"/>
                                          </p:stCondLst>
                                        </p:cTn>
                                        <p:tgtEl>
                                          <p:spTgt spid="2">
                                            <p:txEl>
                                              <p:pRg st="3" end="3"/>
                                            </p:txEl>
                                          </p:spTgt>
                                        </p:tgtEl>
                                      </p:cBhvr>
                                      <p:to x="100000" y="80000"/>
                                    </p:animScale>
                                    <p:animScale>
                                      <p:cBhvr>
                                        <p:cTn id="70" dur="166" decel="50000">
                                          <p:stCondLst>
                                            <p:cond delay="1338"/>
                                          </p:stCondLst>
                                        </p:cTn>
                                        <p:tgtEl>
                                          <p:spTgt spid="2">
                                            <p:txEl>
                                              <p:pRg st="3" end="3"/>
                                            </p:txEl>
                                          </p:spTgt>
                                        </p:tgtEl>
                                      </p:cBhvr>
                                      <p:to x="100000" y="100000"/>
                                    </p:animScale>
                                    <p:animScale>
                                      <p:cBhvr>
                                        <p:cTn id="71" dur="26">
                                          <p:stCondLst>
                                            <p:cond delay="1642"/>
                                          </p:stCondLst>
                                        </p:cTn>
                                        <p:tgtEl>
                                          <p:spTgt spid="2">
                                            <p:txEl>
                                              <p:pRg st="3" end="3"/>
                                            </p:txEl>
                                          </p:spTgt>
                                        </p:tgtEl>
                                      </p:cBhvr>
                                      <p:to x="100000" y="90000"/>
                                    </p:animScale>
                                    <p:animScale>
                                      <p:cBhvr>
                                        <p:cTn id="72" dur="166" decel="50000">
                                          <p:stCondLst>
                                            <p:cond delay="1668"/>
                                          </p:stCondLst>
                                        </p:cTn>
                                        <p:tgtEl>
                                          <p:spTgt spid="2">
                                            <p:txEl>
                                              <p:pRg st="3" end="3"/>
                                            </p:txEl>
                                          </p:spTgt>
                                        </p:tgtEl>
                                      </p:cBhvr>
                                      <p:to x="100000" y="100000"/>
                                    </p:animScale>
                                    <p:animScale>
                                      <p:cBhvr>
                                        <p:cTn id="73" dur="26">
                                          <p:stCondLst>
                                            <p:cond delay="1808"/>
                                          </p:stCondLst>
                                        </p:cTn>
                                        <p:tgtEl>
                                          <p:spTgt spid="2">
                                            <p:txEl>
                                              <p:pRg st="3" end="3"/>
                                            </p:txEl>
                                          </p:spTgt>
                                        </p:tgtEl>
                                      </p:cBhvr>
                                      <p:to x="100000" y="95000"/>
                                    </p:animScale>
                                    <p:animScale>
                                      <p:cBhvr>
                                        <p:cTn id="74" dur="166" decel="50000">
                                          <p:stCondLst>
                                            <p:cond delay="1834"/>
                                          </p:stCondLst>
                                        </p:cTn>
                                        <p:tgtEl>
                                          <p:spTgt spid="2">
                                            <p:txEl>
                                              <p:pRg st="3" end="3"/>
                                            </p:txEl>
                                          </p:spTgt>
                                        </p:tgtEl>
                                      </p:cBhvr>
                                      <p:to x="100000" y="100000"/>
                                    </p:animScale>
                                  </p:childTnLst>
                                </p:cTn>
                              </p:par>
                            </p:childTnLst>
                          </p:cTn>
                        </p:par>
                      </p:childTnLst>
                    </p:cTn>
                  </p:par>
                  <p:par>
                    <p:cTn id="75" fill="hold">
                      <p:stCondLst>
                        <p:cond delay="indefinite"/>
                      </p:stCondLst>
                      <p:childTnLst>
                        <p:par>
                          <p:cTn id="76" fill="hold">
                            <p:stCondLst>
                              <p:cond delay="0"/>
                            </p:stCondLst>
                            <p:childTnLst>
                              <p:par>
                                <p:cTn id="77" presetID="26" presetClass="entr" presetSubtype="0" fill="hold" nodeType="clickEffect">
                                  <p:stCondLst>
                                    <p:cond delay="0"/>
                                  </p:stCondLst>
                                  <p:childTnLst>
                                    <p:set>
                                      <p:cBhvr>
                                        <p:cTn id="78" dur="1" fill="hold">
                                          <p:stCondLst>
                                            <p:cond delay="0"/>
                                          </p:stCondLst>
                                        </p:cTn>
                                        <p:tgtEl>
                                          <p:spTgt spid="2">
                                            <p:txEl>
                                              <p:pRg st="4" end="4"/>
                                            </p:txEl>
                                          </p:spTgt>
                                        </p:tgtEl>
                                        <p:attrNameLst>
                                          <p:attrName>style.visibility</p:attrName>
                                        </p:attrNameLst>
                                      </p:cBhvr>
                                      <p:to>
                                        <p:strVal val="visible"/>
                                      </p:to>
                                    </p:set>
                                    <p:animEffect transition="in" filter="wipe(down)">
                                      <p:cBhvr>
                                        <p:cTn id="79" dur="580">
                                          <p:stCondLst>
                                            <p:cond delay="0"/>
                                          </p:stCondLst>
                                        </p:cTn>
                                        <p:tgtEl>
                                          <p:spTgt spid="2">
                                            <p:txEl>
                                              <p:pRg st="4" end="4"/>
                                            </p:txEl>
                                          </p:spTgt>
                                        </p:tgtEl>
                                      </p:cBhvr>
                                    </p:animEffect>
                                    <p:anim calcmode="lin" valueType="num">
                                      <p:cBhvr>
                                        <p:cTn id="80" dur="1822" tmFilter="0,0; 0.14,0.36; 0.43,0.73; 0.71,0.91; 1.0,1.0">
                                          <p:stCondLst>
                                            <p:cond delay="0"/>
                                          </p:stCondLst>
                                        </p:cTn>
                                        <p:tgtEl>
                                          <p:spTgt spid="2">
                                            <p:txEl>
                                              <p:pRg st="4" end="4"/>
                                            </p:txEl>
                                          </p:spTgt>
                                        </p:tgtEl>
                                        <p:attrNameLst>
                                          <p:attrName>ppt_x</p:attrName>
                                        </p:attrNameLst>
                                      </p:cBhvr>
                                      <p:tavLst>
                                        <p:tav tm="0">
                                          <p:val>
                                            <p:strVal val="#ppt_x-0.25"/>
                                          </p:val>
                                        </p:tav>
                                        <p:tav tm="100000">
                                          <p:val>
                                            <p:strVal val="#ppt_x"/>
                                          </p:val>
                                        </p:tav>
                                      </p:tavLst>
                                    </p:anim>
                                    <p:anim calcmode="lin" valueType="num">
                                      <p:cBhvr>
                                        <p:cTn id="81" dur="664" tmFilter="0.0,0.0; 0.25,0.07; 0.50,0.2; 0.75,0.467; 1.0,1.0">
                                          <p:stCondLst>
                                            <p:cond delay="0"/>
                                          </p:stCondLst>
                                        </p:cTn>
                                        <p:tgtEl>
                                          <p:spTgt spid="2">
                                            <p:txEl>
                                              <p:pRg st="4" end="4"/>
                                            </p:txEl>
                                          </p:spTgt>
                                        </p:tgtEl>
                                        <p:attrNameLst>
                                          <p:attrName>ppt_y</p:attrName>
                                        </p:attrNameLst>
                                      </p:cBhvr>
                                      <p:tavLst>
                                        <p:tav tm="0" fmla="#ppt_y-sin(pi*$)/3">
                                          <p:val>
                                            <p:fltVal val="0.5"/>
                                          </p:val>
                                        </p:tav>
                                        <p:tav tm="100000">
                                          <p:val>
                                            <p:fltVal val="1"/>
                                          </p:val>
                                        </p:tav>
                                      </p:tavLst>
                                    </p:anim>
                                    <p:anim calcmode="lin" valueType="num">
                                      <p:cBhvr>
                                        <p:cTn id="82" dur="664" tmFilter="0, 0; 0.125,0.2665; 0.25,0.4; 0.375,0.465; 0.5,0.5;  0.625,0.535; 0.75,0.6; 0.875,0.7335; 1,1">
                                          <p:stCondLst>
                                            <p:cond delay="664"/>
                                          </p:stCondLst>
                                        </p:cTn>
                                        <p:tgtEl>
                                          <p:spTgt spid="2">
                                            <p:txEl>
                                              <p:pRg st="4" end="4"/>
                                            </p:txEl>
                                          </p:spTgt>
                                        </p:tgtEl>
                                        <p:attrNameLst>
                                          <p:attrName>ppt_y</p:attrName>
                                        </p:attrNameLst>
                                      </p:cBhvr>
                                      <p:tavLst>
                                        <p:tav tm="0" fmla="#ppt_y-sin(pi*$)/9">
                                          <p:val>
                                            <p:fltVal val="0"/>
                                          </p:val>
                                        </p:tav>
                                        <p:tav tm="100000">
                                          <p:val>
                                            <p:fltVal val="1"/>
                                          </p:val>
                                        </p:tav>
                                      </p:tavLst>
                                    </p:anim>
                                    <p:anim calcmode="lin" valueType="num">
                                      <p:cBhvr>
                                        <p:cTn id="83" dur="332" tmFilter="0, 0; 0.125,0.2665; 0.25,0.4; 0.375,0.465; 0.5,0.5;  0.625,0.535; 0.75,0.6; 0.875,0.7335; 1,1">
                                          <p:stCondLst>
                                            <p:cond delay="1324"/>
                                          </p:stCondLst>
                                        </p:cTn>
                                        <p:tgtEl>
                                          <p:spTgt spid="2">
                                            <p:txEl>
                                              <p:pRg st="4" end="4"/>
                                            </p:txEl>
                                          </p:spTgt>
                                        </p:tgtEl>
                                        <p:attrNameLst>
                                          <p:attrName>ppt_y</p:attrName>
                                        </p:attrNameLst>
                                      </p:cBhvr>
                                      <p:tavLst>
                                        <p:tav tm="0" fmla="#ppt_y-sin(pi*$)/27">
                                          <p:val>
                                            <p:fltVal val="0"/>
                                          </p:val>
                                        </p:tav>
                                        <p:tav tm="100000">
                                          <p:val>
                                            <p:fltVal val="1"/>
                                          </p:val>
                                        </p:tav>
                                      </p:tavLst>
                                    </p:anim>
                                    <p:anim calcmode="lin" valueType="num">
                                      <p:cBhvr>
                                        <p:cTn id="84" dur="164" tmFilter="0, 0; 0.125,0.2665; 0.25,0.4; 0.375,0.465; 0.5,0.5;  0.625,0.535; 0.75,0.6; 0.875,0.7335; 1,1">
                                          <p:stCondLst>
                                            <p:cond delay="1656"/>
                                          </p:stCondLst>
                                        </p:cTn>
                                        <p:tgtEl>
                                          <p:spTgt spid="2">
                                            <p:txEl>
                                              <p:pRg st="4" end="4"/>
                                            </p:txEl>
                                          </p:spTgt>
                                        </p:tgtEl>
                                        <p:attrNameLst>
                                          <p:attrName>ppt_y</p:attrName>
                                        </p:attrNameLst>
                                      </p:cBhvr>
                                      <p:tavLst>
                                        <p:tav tm="0" fmla="#ppt_y-sin(pi*$)/81">
                                          <p:val>
                                            <p:fltVal val="0"/>
                                          </p:val>
                                        </p:tav>
                                        <p:tav tm="100000">
                                          <p:val>
                                            <p:fltVal val="1"/>
                                          </p:val>
                                        </p:tav>
                                      </p:tavLst>
                                    </p:anim>
                                    <p:animScale>
                                      <p:cBhvr>
                                        <p:cTn id="85" dur="26">
                                          <p:stCondLst>
                                            <p:cond delay="650"/>
                                          </p:stCondLst>
                                        </p:cTn>
                                        <p:tgtEl>
                                          <p:spTgt spid="2">
                                            <p:txEl>
                                              <p:pRg st="4" end="4"/>
                                            </p:txEl>
                                          </p:spTgt>
                                        </p:tgtEl>
                                      </p:cBhvr>
                                      <p:to x="100000" y="60000"/>
                                    </p:animScale>
                                    <p:animScale>
                                      <p:cBhvr>
                                        <p:cTn id="86" dur="166" decel="50000">
                                          <p:stCondLst>
                                            <p:cond delay="676"/>
                                          </p:stCondLst>
                                        </p:cTn>
                                        <p:tgtEl>
                                          <p:spTgt spid="2">
                                            <p:txEl>
                                              <p:pRg st="4" end="4"/>
                                            </p:txEl>
                                          </p:spTgt>
                                        </p:tgtEl>
                                      </p:cBhvr>
                                      <p:to x="100000" y="100000"/>
                                    </p:animScale>
                                    <p:animScale>
                                      <p:cBhvr>
                                        <p:cTn id="87" dur="26">
                                          <p:stCondLst>
                                            <p:cond delay="1312"/>
                                          </p:stCondLst>
                                        </p:cTn>
                                        <p:tgtEl>
                                          <p:spTgt spid="2">
                                            <p:txEl>
                                              <p:pRg st="4" end="4"/>
                                            </p:txEl>
                                          </p:spTgt>
                                        </p:tgtEl>
                                      </p:cBhvr>
                                      <p:to x="100000" y="80000"/>
                                    </p:animScale>
                                    <p:animScale>
                                      <p:cBhvr>
                                        <p:cTn id="88" dur="166" decel="50000">
                                          <p:stCondLst>
                                            <p:cond delay="1338"/>
                                          </p:stCondLst>
                                        </p:cTn>
                                        <p:tgtEl>
                                          <p:spTgt spid="2">
                                            <p:txEl>
                                              <p:pRg st="4" end="4"/>
                                            </p:txEl>
                                          </p:spTgt>
                                        </p:tgtEl>
                                      </p:cBhvr>
                                      <p:to x="100000" y="100000"/>
                                    </p:animScale>
                                    <p:animScale>
                                      <p:cBhvr>
                                        <p:cTn id="89" dur="26">
                                          <p:stCondLst>
                                            <p:cond delay="1642"/>
                                          </p:stCondLst>
                                        </p:cTn>
                                        <p:tgtEl>
                                          <p:spTgt spid="2">
                                            <p:txEl>
                                              <p:pRg st="4" end="4"/>
                                            </p:txEl>
                                          </p:spTgt>
                                        </p:tgtEl>
                                      </p:cBhvr>
                                      <p:to x="100000" y="90000"/>
                                    </p:animScale>
                                    <p:animScale>
                                      <p:cBhvr>
                                        <p:cTn id="90" dur="166" decel="50000">
                                          <p:stCondLst>
                                            <p:cond delay="1668"/>
                                          </p:stCondLst>
                                        </p:cTn>
                                        <p:tgtEl>
                                          <p:spTgt spid="2">
                                            <p:txEl>
                                              <p:pRg st="4" end="4"/>
                                            </p:txEl>
                                          </p:spTgt>
                                        </p:tgtEl>
                                      </p:cBhvr>
                                      <p:to x="100000" y="100000"/>
                                    </p:animScale>
                                    <p:animScale>
                                      <p:cBhvr>
                                        <p:cTn id="91" dur="26">
                                          <p:stCondLst>
                                            <p:cond delay="1808"/>
                                          </p:stCondLst>
                                        </p:cTn>
                                        <p:tgtEl>
                                          <p:spTgt spid="2">
                                            <p:txEl>
                                              <p:pRg st="4" end="4"/>
                                            </p:txEl>
                                          </p:spTgt>
                                        </p:tgtEl>
                                      </p:cBhvr>
                                      <p:to x="100000" y="95000"/>
                                    </p:animScale>
                                    <p:animScale>
                                      <p:cBhvr>
                                        <p:cTn id="92" dur="166" decel="50000">
                                          <p:stCondLst>
                                            <p:cond delay="1834"/>
                                          </p:stCondLst>
                                        </p:cTn>
                                        <p:tgtEl>
                                          <p:spTgt spid="2">
                                            <p:txEl>
                                              <p:pRg st="4" end="4"/>
                                            </p:txEl>
                                          </p:spTgt>
                                        </p:tgtEl>
                                      </p:cBhvr>
                                      <p:to x="100000" y="100000"/>
                                    </p:animScale>
                                  </p:childTnLst>
                                </p:cTn>
                              </p:par>
                            </p:childTnLst>
                          </p:cTn>
                        </p:par>
                      </p:childTnLst>
                    </p:cTn>
                  </p:par>
                  <p:par>
                    <p:cTn id="93" fill="hold">
                      <p:stCondLst>
                        <p:cond delay="indefinite"/>
                      </p:stCondLst>
                      <p:childTnLst>
                        <p:par>
                          <p:cTn id="94" fill="hold">
                            <p:stCondLst>
                              <p:cond delay="0"/>
                            </p:stCondLst>
                            <p:childTnLst>
                              <p:par>
                                <p:cTn id="95" presetID="26" presetClass="entr" presetSubtype="0" fill="hold" nodeType="clickEffect">
                                  <p:stCondLst>
                                    <p:cond delay="0"/>
                                  </p:stCondLst>
                                  <p:childTnLst>
                                    <p:set>
                                      <p:cBhvr>
                                        <p:cTn id="96" dur="1" fill="hold">
                                          <p:stCondLst>
                                            <p:cond delay="0"/>
                                          </p:stCondLst>
                                        </p:cTn>
                                        <p:tgtEl>
                                          <p:spTgt spid="2">
                                            <p:txEl>
                                              <p:pRg st="5" end="5"/>
                                            </p:txEl>
                                          </p:spTgt>
                                        </p:tgtEl>
                                        <p:attrNameLst>
                                          <p:attrName>style.visibility</p:attrName>
                                        </p:attrNameLst>
                                      </p:cBhvr>
                                      <p:to>
                                        <p:strVal val="visible"/>
                                      </p:to>
                                    </p:set>
                                    <p:animEffect transition="in" filter="wipe(down)">
                                      <p:cBhvr>
                                        <p:cTn id="97" dur="580">
                                          <p:stCondLst>
                                            <p:cond delay="0"/>
                                          </p:stCondLst>
                                        </p:cTn>
                                        <p:tgtEl>
                                          <p:spTgt spid="2">
                                            <p:txEl>
                                              <p:pRg st="5" end="5"/>
                                            </p:txEl>
                                          </p:spTgt>
                                        </p:tgtEl>
                                      </p:cBhvr>
                                    </p:animEffect>
                                    <p:anim calcmode="lin" valueType="num">
                                      <p:cBhvr>
                                        <p:cTn id="98" dur="1822" tmFilter="0,0; 0.14,0.36; 0.43,0.73; 0.71,0.91; 1.0,1.0">
                                          <p:stCondLst>
                                            <p:cond delay="0"/>
                                          </p:stCondLst>
                                        </p:cTn>
                                        <p:tgtEl>
                                          <p:spTgt spid="2">
                                            <p:txEl>
                                              <p:pRg st="5" end="5"/>
                                            </p:txEl>
                                          </p:spTgt>
                                        </p:tgtEl>
                                        <p:attrNameLst>
                                          <p:attrName>ppt_x</p:attrName>
                                        </p:attrNameLst>
                                      </p:cBhvr>
                                      <p:tavLst>
                                        <p:tav tm="0">
                                          <p:val>
                                            <p:strVal val="#ppt_x-0.25"/>
                                          </p:val>
                                        </p:tav>
                                        <p:tav tm="100000">
                                          <p:val>
                                            <p:strVal val="#ppt_x"/>
                                          </p:val>
                                        </p:tav>
                                      </p:tavLst>
                                    </p:anim>
                                    <p:anim calcmode="lin" valueType="num">
                                      <p:cBhvr>
                                        <p:cTn id="99" dur="664" tmFilter="0.0,0.0; 0.25,0.07; 0.50,0.2; 0.75,0.467; 1.0,1.0">
                                          <p:stCondLst>
                                            <p:cond delay="0"/>
                                          </p:stCondLst>
                                        </p:cTn>
                                        <p:tgtEl>
                                          <p:spTgt spid="2">
                                            <p:txEl>
                                              <p:pRg st="5" end="5"/>
                                            </p:txEl>
                                          </p:spTgt>
                                        </p:tgtEl>
                                        <p:attrNameLst>
                                          <p:attrName>ppt_y</p:attrName>
                                        </p:attrNameLst>
                                      </p:cBhvr>
                                      <p:tavLst>
                                        <p:tav tm="0" fmla="#ppt_y-sin(pi*$)/3">
                                          <p:val>
                                            <p:fltVal val="0.5"/>
                                          </p:val>
                                        </p:tav>
                                        <p:tav tm="100000">
                                          <p:val>
                                            <p:fltVal val="1"/>
                                          </p:val>
                                        </p:tav>
                                      </p:tavLst>
                                    </p:anim>
                                    <p:anim calcmode="lin" valueType="num">
                                      <p:cBhvr>
                                        <p:cTn id="100" dur="664" tmFilter="0, 0; 0.125,0.2665; 0.25,0.4; 0.375,0.465; 0.5,0.5;  0.625,0.535; 0.75,0.6; 0.875,0.7335; 1,1">
                                          <p:stCondLst>
                                            <p:cond delay="664"/>
                                          </p:stCondLst>
                                        </p:cTn>
                                        <p:tgtEl>
                                          <p:spTgt spid="2">
                                            <p:txEl>
                                              <p:pRg st="5" end="5"/>
                                            </p:txEl>
                                          </p:spTgt>
                                        </p:tgtEl>
                                        <p:attrNameLst>
                                          <p:attrName>ppt_y</p:attrName>
                                        </p:attrNameLst>
                                      </p:cBhvr>
                                      <p:tavLst>
                                        <p:tav tm="0" fmla="#ppt_y-sin(pi*$)/9">
                                          <p:val>
                                            <p:fltVal val="0"/>
                                          </p:val>
                                        </p:tav>
                                        <p:tav tm="100000">
                                          <p:val>
                                            <p:fltVal val="1"/>
                                          </p:val>
                                        </p:tav>
                                      </p:tavLst>
                                    </p:anim>
                                    <p:anim calcmode="lin" valueType="num">
                                      <p:cBhvr>
                                        <p:cTn id="101" dur="332" tmFilter="0, 0; 0.125,0.2665; 0.25,0.4; 0.375,0.465; 0.5,0.5;  0.625,0.535; 0.75,0.6; 0.875,0.7335; 1,1">
                                          <p:stCondLst>
                                            <p:cond delay="1324"/>
                                          </p:stCondLst>
                                        </p:cTn>
                                        <p:tgtEl>
                                          <p:spTgt spid="2">
                                            <p:txEl>
                                              <p:pRg st="5" end="5"/>
                                            </p:txEl>
                                          </p:spTgt>
                                        </p:tgtEl>
                                        <p:attrNameLst>
                                          <p:attrName>ppt_y</p:attrName>
                                        </p:attrNameLst>
                                      </p:cBhvr>
                                      <p:tavLst>
                                        <p:tav tm="0" fmla="#ppt_y-sin(pi*$)/27">
                                          <p:val>
                                            <p:fltVal val="0"/>
                                          </p:val>
                                        </p:tav>
                                        <p:tav tm="100000">
                                          <p:val>
                                            <p:fltVal val="1"/>
                                          </p:val>
                                        </p:tav>
                                      </p:tavLst>
                                    </p:anim>
                                    <p:anim calcmode="lin" valueType="num">
                                      <p:cBhvr>
                                        <p:cTn id="102" dur="164" tmFilter="0, 0; 0.125,0.2665; 0.25,0.4; 0.375,0.465; 0.5,0.5;  0.625,0.535; 0.75,0.6; 0.875,0.7335; 1,1">
                                          <p:stCondLst>
                                            <p:cond delay="1656"/>
                                          </p:stCondLst>
                                        </p:cTn>
                                        <p:tgtEl>
                                          <p:spTgt spid="2">
                                            <p:txEl>
                                              <p:pRg st="5" end="5"/>
                                            </p:txEl>
                                          </p:spTgt>
                                        </p:tgtEl>
                                        <p:attrNameLst>
                                          <p:attrName>ppt_y</p:attrName>
                                        </p:attrNameLst>
                                      </p:cBhvr>
                                      <p:tavLst>
                                        <p:tav tm="0" fmla="#ppt_y-sin(pi*$)/81">
                                          <p:val>
                                            <p:fltVal val="0"/>
                                          </p:val>
                                        </p:tav>
                                        <p:tav tm="100000">
                                          <p:val>
                                            <p:fltVal val="1"/>
                                          </p:val>
                                        </p:tav>
                                      </p:tavLst>
                                    </p:anim>
                                    <p:animScale>
                                      <p:cBhvr>
                                        <p:cTn id="103" dur="26">
                                          <p:stCondLst>
                                            <p:cond delay="650"/>
                                          </p:stCondLst>
                                        </p:cTn>
                                        <p:tgtEl>
                                          <p:spTgt spid="2">
                                            <p:txEl>
                                              <p:pRg st="5" end="5"/>
                                            </p:txEl>
                                          </p:spTgt>
                                        </p:tgtEl>
                                      </p:cBhvr>
                                      <p:to x="100000" y="60000"/>
                                    </p:animScale>
                                    <p:animScale>
                                      <p:cBhvr>
                                        <p:cTn id="104" dur="166" decel="50000">
                                          <p:stCondLst>
                                            <p:cond delay="676"/>
                                          </p:stCondLst>
                                        </p:cTn>
                                        <p:tgtEl>
                                          <p:spTgt spid="2">
                                            <p:txEl>
                                              <p:pRg st="5" end="5"/>
                                            </p:txEl>
                                          </p:spTgt>
                                        </p:tgtEl>
                                      </p:cBhvr>
                                      <p:to x="100000" y="100000"/>
                                    </p:animScale>
                                    <p:animScale>
                                      <p:cBhvr>
                                        <p:cTn id="105" dur="26">
                                          <p:stCondLst>
                                            <p:cond delay="1312"/>
                                          </p:stCondLst>
                                        </p:cTn>
                                        <p:tgtEl>
                                          <p:spTgt spid="2">
                                            <p:txEl>
                                              <p:pRg st="5" end="5"/>
                                            </p:txEl>
                                          </p:spTgt>
                                        </p:tgtEl>
                                      </p:cBhvr>
                                      <p:to x="100000" y="80000"/>
                                    </p:animScale>
                                    <p:animScale>
                                      <p:cBhvr>
                                        <p:cTn id="106" dur="166" decel="50000">
                                          <p:stCondLst>
                                            <p:cond delay="1338"/>
                                          </p:stCondLst>
                                        </p:cTn>
                                        <p:tgtEl>
                                          <p:spTgt spid="2">
                                            <p:txEl>
                                              <p:pRg st="5" end="5"/>
                                            </p:txEl>
                                          </p:spTgt>
                                        </p:tgtEl>
                                      </p:cBhvr>
                                      <p:to x="100000" y="100000"/>
                                    </p:animScale>
                                    <p:animScale>
                                      <p:cBhvr>
                                        <p:cTn id="107" dur="26">
                                          <p:stCondLst>
                                            <p:cond delay="1642"/>
                                          </p:stCondLst>
                                        </p:cTn>
                                        <p:tgtEl>
                                          <p:spTgt spid="2">
                                            <p:txEl>
                                              <p:pRg st="5" end="5"/>
                                            </p:txEl>
                                          </p:spTgt>
                                        </p:tgtEl>
                                      </p:cBhvr>
                                      <p:to x="100000" y="90000"/>
                                    </p:animScale>
                                    <p:animScale>
                                      <p:cBhvr>
                                        <p:cTn id="108" dur="166" decel="50000">
                                          <p:stCondLst>
                                            <p:cond delay="1668"/>
                                          </p:stCondLst>
                                        </p:cTn>
                                        <p:tgtEl>
                                          <p:spTgt spid="2">
                                            <p:txEl>
                                              <p:pRg st="5" end="5"/>
                                            </p:txEl>
                                          </p:spTgt>
                                        </p:tgtEl>
                                      </p:cBhvr>
                                      <p:to x="100000" y="100000"/>
                                    </p:animScale>
                                    <p:animScale>
                                      <p:cBhvr>
                                        <p:cTn id="109" dur="26">
                                          <p:stCondLst>
                                            <p:cond delay="1808"/>
                                          </p:stCondLst>
                                        </p:cTn>
                                        <p:tgtEl>
                                          <p:spTgt spid="2">
                                            <p:txEl>
                                              <p:pRg st="5" end="5"/>
                                            </p:txEl>
                                          </p:spTgt>
                                        </p:tgtEl>
                                      </p:cBhvr>
                                      <p:to x="100000" y="95000"/>
                                    </p:animScale>
                                    <p:animScale>
                                      <p:cBhvr>
                                        <p:cTn id="110" dur="166" decel="50000">
                                          <p:stCondLst>
                                            <p:cond delay="1834"/>
                                          </p:stCondLst>
                                        </p:cTn>
                                        <p:tgtEl>
                                          <p:spTgt spid="2">
                                            <p:txEl>
                                              <p:pRg st="5" end="5"/>
                                            </p:txEl>
                                          </p:spTgt>
                                        </p:tgtEl>
                                      </p:cBhvr>
                                      <p:to x="100000" y="100000"/>
                                    </p:animScale>
                                  </p:childTnLst>
                                </p:cTn>
                              </p:par>
                            </p:childTnLst>
                          </p:cTn>
                        </p:par>
                      </p:childTnLst>
                    </p:cTn>
                  </p:par>
                  <p:par>
                    <p:cTn id="111" fill="hold">
                      <p:stCondLst>
                        <p:cond delay="indefinite"/>
                      </p:stCondLst>
                      <p:childTnLst>
                        <p:par>
                          <p:cTn id="112" fill="hold">
                            <p:stCondLst>
                              <p:cond delay="0"/>
                            </p:stCondLst>
                            <p:childTnLst>
                              <p:par>
                                <p:cTn id="113" presetID="26" presetClass="entr" presetSubtype="0" fill="hold" nodeType="clickEffect">
                                  <p:stCondLst>
                                    <p:cond delay="0"/>
                                  </p:stCondLst>
                                  <p:childTnLst>
                                    <p:set>
                                      <p:cBhvr>
                                        <p:cTn id="114" dur="1" fill="hold">
                                          <p:stCondLst>
                                            <p:cond delay="0"/>
                                          </p:stCondLst>
                                        </p:cTn>
                                        <p:tgtEl>
                                          <p:spTgt spid="2">
                                            <p:txEl>
                                              <p:pRg st="6" end="6"/>
                                            </p:txEl>
                                          </p:spTgt>
                                        </p:tgtEl>
                                        <p:attrNameLst>
                                          <p:attrName>style.visibility</p:attrName>
                                        </p:attrNameLst>
                                      </p:cBhvr>
                                      <p:to>
                                        <p:strVal val="visible"/>
                                      </p:to>
                                    </p:set>
                                    <p:animEffect transition="in" filter="wipe(down)">
                                      <p:cBhvr>
                                        <p:cTn id="115" dur="580">
                                          <p:stCondLst>
                                            <p:cond delay="0"/>
                                          </p:stCondLst>
                                        </p:cTn>
                                        <p:tgtEl>
                                          <p:spTgt spid="2">
                                            <p:txEl>
                                              <p:pRg st="6" end="6"/>
                                            </p:txEl>
                                          </p:spTgt>
                                        </p:tgtEl>
                                      </p:cBhvr>
                                    </p:animEffect>
                                    <p:anim calcmode="lin" valueType="num">
                                      <p:cBhvr>
                                        <p:cTn id="116" dur="1822" tmFilter="0,0; 0.14,0.36; 0.43,0.73; 0.71,0.91; 1.0,1.0">
                                          <p:stCondLst>
                                            <p:cond delay="0"/>
                                          </p:stCondLst>
                                        </p:cTn>
                                        <p:tgtEl>
                                          <p:spTgt spid="2">
                                            <p:txEl>
                                              <p:pRg st="6" end="6"/>
                                            </p:txEl>
                                          </p:spTgt>
                                        </p:tgtEl>
                                        <p:attrNameLst>
                                          <p:attrName>ppt_x</p:attrName>
                                        </p:attrNameLst>
                                      </p:cBhvr>
                                      <p:tavLst>
                                        <p:tav tm="0">
                                          <p:val>
                                            <p:strVal val="#ppt_x-0.25"/>
                                          </p:val>
                                        </p:tav>
                                        <p:tav tm="100000">
                                          <p:val>
                                            <p:strVal val="#ppt_x"/>
                                          </p:val>
                                        </p:tav>
                                      </p:tavLst>
                                    </p:anim>
                                    <p:anim calcmode="lin" valueType="num">
                                      <p:cBhvr>
                                        <p:cTn id="117" dur="664" tmFilter="0.0,0.0; 0.25,0.07; 0.50,0.2; 0.75,0.467; 1.0,1.0">
                                          <p:stCondLst>
                                            <p:cond delay="0"/>
                                          </p:stCondLst>
                                        </p:cTn>
                                        <p:tgtEl>
                                          <p:spTgt spid="2">
                                            <p:txEl>
                                              <p:pRg st="6" end="6"/>
                                            </p:txEl>
                                          </p:spTgt>
                                        </p:tgtEl>
                                        <p:attrNameLst>
                                          <p:attrName>ppt_y</p:attrName>
                                        </p:attrNameLst>
                                      </p:cBhvr>
                                      <p:tavLst>
                                        <p:tav tm="0" fmla="#ppt_y-sin(pi*$)/3">
                                          <p:val>
                                            <p:fltVal val="0.5"/>
                                          </p:val>
                                        </p:tav>
                                        <p:tav tm="100000">
                                          <p:val>
                                            <p:fltVal val="1"/>
                                          </p:val>
                                        </p:tav>
                                      </p:tavLst>
                                    </p:anim>
                                    <p:anim calcmode="lin" valueType="num">
                                      <p:cBhvr>
                                        <p:cTn id="118" dur="664" tmFilter="0, 0; 0.125,0.2665; 0.25,0.4; 0.375,0.465; 0.5,0.5;  0.625,0.535; 0.75,0.6; 0.875,0.7335; 1,1">
                                          <p:stCondLst>
                                            <p:cond delay="664"/>
                                          </p:stCondLst>
                                        </p:cTn>
                                        <p:tgtEl>
                                          <p:spTgt spid="2">
                                            <p:txEl>
                                              <p:pRg st="6" end="6"/>
                                            </p:txEl>
                                          </p:spTgt>
                                        </p:tgtEl>
                                        <p:attrNameLst>
                                          <p:attrName>ppt_y</p:attrName>
                                        </p:attrNameLst>
                                      </p:cBhvr>
                                      <p:tavLst>
                                        <p:tav tm="0" fmla="#ppt_y-sin(pi*$)/9">
                                          <p:val>
                                            <p:fltVal val="0"/>
                                          </p:val>
                                        </p:tav>
                                        <p:tav tm="100000">
                                          <p:val>
                                            <p:fltVal val="1"/>
                                          </p:val>
                                        </p:tav>
                                      </p:tavLst>
                                    </p:anim>
                                    <p:anim calcmode="lin" valueType="num">
                                      <p:cBhvr>
                                        <p:cTn id="119" dur="332" tmFilter="0, 0; 0.125,0.2665; 0.25,0.4; 0.375,0.465; 0.5,0.5;  0.625,0.535; 0.75,0.6; 0.875,0.7335; 1,1">
                                          <p:stCondLst>
                                            <p:cond delay="1324"/>
                                          </p:stCondLst>
                                        </p:cTn>
                                        <p:tgtEl>
                                          <p:spTgt spid="2">
                                            <p:txEl>
                                              <p:pRg st="6" end="6"/>
                                            </p:txEl>
                                          </p:spTgt>
                                        </p:tgtEl>
                                        <p:attrNameLst>
                                          <p:attrName>ppt_y</p:attrName>
                                        </p:attrNameLst>
                                      </p:cBhvr>
                                      <p:tavLst>
                                        <p:tav tm="0" fmla="#ppt_y-sin(pi*$)/27">
                                          <p:val>
                                            <p:fltVal val="0"/>
                                          </p:val>
                                        </p:tav>
                                        <p:tav tm="100000">
                                          <p:val>
                                            <p:fltVal val="1"/>
                                          </p:val>
                                        </p:tav>
                                      </p:tavLst>
                                    </p:anim>
                                    <p:anim calcmode="lin" valueType="num">
                                      <p:cBhvr>
                                        <p:cTn id="120" dur="164" tmFilter="0, 0; 0.125,0.2665; 0.25,0.4; 0.375,0.465; 0.5,0.5;  0.625,0.535; 0.75,0.6; 0.875,0.7335; 1,1">
                                          <p:stCondLst>
                                            <p:cond delay="1656"/>
                                          </p:stCondLst>
                                        </p:cTn>
                                        <p:tgtEl>
                                          <p:spTgt spid="2">
                                            <p:txEl>
                                              <p:pRg st="6" end="6"/>
                                            </p:txEl>
                                          </p:spTgt>
                                        </p:tgtEl>
                                        <p:attrNameLst>
                                          <p:attrName>ppt_y</p:attrName>
                                        </p:attrNameLst>
                                      </p:cBhvr>
                                      <p:tavLst>
                                        <p:tav tm="0" fmla="#ppt_y-sin(pi*$)/81">
                                          <p:val>
                                            <p:fltVal val="0"/>
                                          </p:val>
                                        </p:tav>
                                        <p:tav tm="100000">
                                          <p:val>
                                            <p:fltVal val="1"/>
                                          </p:val>
                                        </p:tav>
                                      </p:tavLst>
                                    </p:anim>
                                    <p:animScale>
                                      <p:cBhvr>
                                        <p:cTn id="121" dur="26">
                                          <p:stCondLst>
                                            <p:cond delay="650"/>
                                          </p:stCondLst>
                                        </p:cTn>
                                        <p:tgtEl>
                                          <p:spTgt spid="2">
                                            <p:txEl>
                                              <p:pRg st="6" end="6"/>
                                            </p:txEl>
                                          </p:spTgt>
                                        </p:tgtEl>
                                      </p:cBhvr>
                                      <p:to x="100000" y="60000"/>
                                    </p:animScale>
                                    <p:animScale>
                                      <p:cBhvr>
                                        <p:cTn id="122" dur="166" decel="50000">
                                          <p:stCondLst>
                                            <p:cond delay="676"/>
                                          </p:stCondLst>
                                        </p:cTn>
                                        <p:tgtEl>
                                          <p:spTgt spid="2">
                                            <p:txEl>
                                              <p:pRg st="6" end="6"/>
                                            </p:txEl>
                                          </p:spTgt>
                                        </p:tgtEl>
                                      </p:cBhvr>
                                      <p:to x="100000" y="100000"/>
                                    </p:animScale>
                                    <p:animScale>
                                      <p:cBhvr>
                                        <p:cTn id="123" dur="26">
                                          <p:stCondLst>
                                            <p:cond delay="1312"/>
                                          </p:stCondLst>
                                        </p:cTn>
                                        <p:tgtEl>
                                          <p:spTgt spid="2">
                                            <p:txEl>
                                              <p:pRg st="6" end="6"/>
                                            </p:txEl>
                                          </p:spTgt>
                                        </p:tgtEl>
                                      </p:cBhvr>
                                      <p:to x="100000" y="80000"/>
                                    </p:animScale>
                                    <p:animScale>
                                      <p:cBhvr>
                                        <p:cTn id="124" dur="166" decel="50000">
                                          <p:stCondLst>
                                            <p:cond delay="1338"/>
                                          </p:stCondLst>
                                        </p:cTn>
                                        <p:tgtEl>
                                          <p:spTgt spid="2">
                                            <p:txEl>
                                              <p:pRg st="6" end="6"/>
                                            </p:txEl>
                                          </p:spTgt>
                                        </p:tgtEl>
                                      </p:cBhvr>
                                      <p:to x="100000" y="100000"/>
                                    </p:animScale>
                                    <p:animScale>
                                      <p:cBhvr>
                                        <p:cTn id="125" dur="26">
                                          <p:stCondLst>
                                            <p:cond delay="1642"/>
                                          </p:stCondLst>
                                        </p:cTn>
                                        <p:tgtEl>
                                          <p:spTgt spid="2">
                                            <p:txEl>
                                              <p:pRg st="6" end="6"/>
                                            </p:txEl>
                                          </p:spTgt>
                                        </p:tgtEl>
                                      </p:cBhvr>
                                      <p:to x="100000" y="90000"/>
                                    </p:animScale>
                                    <p:animScale>
                                      <p:cBhvr>
                                        <p:cTn id="126" dur="166" decel="50000">
                                          <p:stCondLst>
                                            <p:cond delay="1668"/>
                                          </p:stCondLst>
                                        </p:cTn>
                                        <p:tgtEl>
                                          <p:spTgt spid="2">
                                            <p:txEl>
                                              <p:pRg st="6" end="6"/>
                                            </p:txEl>
                                          </p:spTgt>
                                        </p:tgtEl>
                                      </p:cBhvr>
                                      <p:to x="100000" y="100000"/>
                                    </p:animScale>
                                    <p:animScale>
                                      <p:cBhvr>
                                        <p:cTn id="127" dur="26">
                                          <p:stCondLst>
                                            <p:cond delay="1808"/>
                                          </p:stCondLst>
                                        </p:cTn>
                                        <p:tgtEl>
                                          <p:spTgt spid="2">
                                            <p:txEl>
                                              <p:pRg st="6" end="6"/>
                                            </p:txEl>
                                          </p:spTgt>
                                        </p:tgtEl>
                                      </p:cBhvr>
                                      <p:to x="100000" y="95000"/>
                                    </p:animScale>
                                    <p:animScale>
                                      <p:cBhvr>
                                        <p:cTn id="128" dur="166" decel="50000">
                                          <p:stCondLst>
                                            <p:cond delay="1834"/>
                                          </p:stCondLst>
                                        </p:cTn>
                                        <p:tgtEl>
                                          <p:spTgt spid="2">
                                            <p:txEl>
                                              <p:pRg st="6" end="6"/>
                                            </p:txEl>
                                          </p:spTgt>
                                        </p:tgtEl>
                                      </p:cBhvr>
                                      <p:to x="100000" y="100000"/>
                                    </p:animScale>
                                  </p:childTnLst>
                                </p:cTn>
                              </p:par>
                            </p:childTnLst>
                          </p:cTn>
                        </p:par>
                      </p:childTnLst>
                    </p:cTn>
                  </p:par>
                  <p:par>
                    <p:cTn id="129" fill="hold">
                      <p:stCondLst>
                        <p:cond delay="indefinite"/>
                      </p:stCondLst>
                      <p:childTnLst>
                        <p:par>
                          <p:cTn id="130" fill="hold">
                            <p:stCondLst>
                              <p:cond delay="0"/>
                            </p:stCondLst>
                            <p:childTnLst>
                              <p:par>
                                <p:cTn id="131" presetID="26" presetClass="entr" presetSubtype="0" fill="hold" nodeType="clickEffect">
                                  <p:stCondLst>
                                    <p:cond delay="0"/>
                                  </p:stCondLst>
                                  <p:childTnLst>
                                    <p:set>
                                      <p:cBhvr>
                                        <p:cTn id="132" dur="1" fill="hold">
                                          <p:stCondLst>
                                            <p:cond delay="0"/>
                                          </p:stCondLst>
                                        </p:cTn>
                                        <p:tgtEl>
                                          <p:spTgt spid="2">
                                            <p:txEl>
                                              <p:pRg st="7" end="7"/>
                                            </p:txEl>
                                          </p:spTgt>
                                        </p:tgtEl>
                                        <p:attrNameLst>
                                          <p:attrName>style.visibility</p:attrName>
                                        </p:attrNameLst>
                                      </p:cBhvr>
                                      <p:to>
                                        <p:strVal val="visible"/>
                                      </p:to>
                                    </p:set>
                                    <p:animEffect transition="in" filter="wipe(down)">
                                      <p:cBhvr>
                                        <p:cTn id="133" dur="580">
                                          <p:stCondLst>
                                            <p:cond delay="0"/>
                                          </p:stCondLst>
                                        </p:cTn>
                                        <p:tgtEl>
                                          <p:spTgt spid="2">
                                            <p:txEl>
                                              <p:pRg st="7" end="7"/>
                                            </p:txEl>
                                          </p:spTgt>
                                        </p:tgtEl>
                                      </p:cBhvr>
                                    </p:animEffect>
                                    <p:anim calcmode="lin" valueType="num">
                                      <p:cBhvr>
                                        <p:cTn id="134" dur="1822" tmFilter="0,0; 0.14,0.36; 0.43,0.73; 0.71,0.91; 1.0,1.0">
                                          <p:stCondLst>
                                            <p:cond delay="0"/>
                                          </p:stCondLst>
                                        </p:cTn>
                                        <p:tgtEl>
                                          <p:spTgt spid="2">
                                            <p:txEl>
                                              <p:pRg st="7" end="7"/>
                                            </p:txEl>
                                          </p:spTgt>
                                        </p:tgtEl>
                                        <p:attrNameLst>
                                          <p:attrName>ppt_x</p:attrName>
                                        </p:attrNameLst>
                                      </p:cBhvr>
                                      <p:tavLst>
                                        <p:tav tm="0">
                                          <p:val>
                                            <p:strVal val="#ppt_x-0.25"/>
                                          </p:val>
                                        </p:tav>
                                        <p:tav tm="100000">
                                          <p:val>
                                            <p:strVal val="#ppt_x"/>
                                          </p:val>
                                        </p:tav>
                                      </p:tavLst>
                                    </p:anim>
                                    <p:anim calcmode="lin" valueType="num">
                                      <p:cBhvr>
                                        <p:cTn id="135" dur="664" tmFilter="0.0,0.0; 0.25,0.07; 0.50,0.2; 0.75,0.467; 1.0,1.0">
                                          <p:stCondLst>
                                            <p:cond delay="0"/>
                                          </p:stCondLst>
                                        </p:cTn>
                                        <p:tgtEl>
                                          <p:spTgt spid="2">
                                            <p:txEl>
                                              <p:pRg st="7" end="7"/>
                                            </p:txEl>
                                          </p:spTgt>
                                        </p:tgtEl>
                                        <p:attrNameLst>
                                          <p:attrName>ppt_y</p:attrName>
                                        </p:attrNameLst>
                                      </p:cBhvr>
                                      <p:tavLst>
                                        <p:tav tm="0" fmla="#ppt_y-sin(pi*$)/3">
                                          <p:val>
                                            <p:fltVal val="0.5"/>
                                          </p:val>
                                        </p:tav>
                                        <p:tav tm="100000">
                                          <p:val>
                                            <p:fltVal val="1"/>
                                          </p:val>
                                        </p:tav>
                                      </p:tavLst>
                                    </p:anim>
                                    <p:anim calcmode="lin" valueType="num">
                                      <p:cBhvr>
                                        <p:cTn id="136" dur="664" tmFilter="0, 0; 0.125,0.2665; 0.25,0.4; 0.375,0.465; 0.5,0.5;  0.625,0.535; 0.75,0.6; 0.875,0.7335; 1,1">
                                          <p:stCondLst>
                                            <p:cond delay="664"/>
                                          </p:stCondLst>
                                        </p:cTn>
                                        <p:tgtEl>
                                          <p:spTgt spid="2">
                                            <p:txEl>
                                              <p:pRg st="7" end="7"/>
                                            </p:txEl>
                                          </p:spTgt>
                                        </p:tgtEl>
                                        <p:attrNameLst>
                                          <p:attrName>ppt_y</p:attrName>
                                        </p:attrNameLst>
                                      </p:cBhvr>
                                      <p:tavLst>
                                        <p:tav tm="0" fmla="#ppt_y-sin(pi*$)/9">
                                          <p:val>
                                            <p:fltVal val="0"/>
                                          </p:val>
                                        </p:tav>
                                        <p:tav tm="100000">
                                          <p:val>
                                            <p:fltVal val="1"/>
                                          </p:val>
                                        </p:tav>
                                      </p:tavLst>
                                    </p:anim>
                                    <p:anim calcmode="lin" valueType="num">
                                      <p:cBhvr>
                                        <p:cTn id="137" dur="332" tmFilter="0, 0; 0.125,0.2665; 0.25,0.4; 0.375,0.465; 0.5,0.5;  0.625,0.535; 0.75,0.6; 0.875,0.7335; 1,1">
                                          <p:stCondLst>
                                            <p:cond delay="1324"/>
                                          </p:stCondLst>
                                        </p:cTn>
                                        <p:tgtEl>
                                          <p:spTgt spid="2">
                                            <p:txEl>
                                              <p:pRg st="7" end="7"/>
                                            </p:txEl>
                                          </p:spTgt>
                                        </p:tgtEl>
                                        <p:attrNameLst>
                                          <p:attrName>ppt_y</p:attrName>
                                        </p:attrNameLst>
                                      </p:cBhvr>
                                      <p:tavLst>
                                        <p:tav tm="0" fmla="#ppt_y-sin(pi*$)/27">
                                          <p:val>
                                            <p:fltVal val="0"/>
                                          </p:val>
                                        </p:tav>
                                        <p:tav tm="100000">
                                          <p:val>
                                            <p:fltVal val="1"/>
                                          </p:val>
                                        </p:tav>
                                      </p:tavLst>
                                    </p:anim>
                                    <p:anim calcmode="lin" valueType="num">
                                      <p:cBhvr>
                                        <p:cTn id="138" dur="164" tmFilter="0, 0; 0.125,0.2665; 0.25,0.4; 0.375,0.465; 0.5,0.5;  0.625,0.535; 0.75,0.6; 0.875,0.7335; 1,1">
                                          <p:stCondLst>
                                            <p:cond delay="1656"/>
                                          </p:stCondLst>
                                        </p:cTn>
                                        <p:tgtEl>
                                          <p:spTgt spid="2">
                                            <p:txEl>
                                              <p:pRg st="7" end="7"/>
                                            </p:txEl>
                                          </p:spTgt>
                                        </p:tgtEl>
                                        <p:attrNameLst>
                                          <p:attrName>ppt_y</p:attrName>
                                        </p:attrNameLst>
                                      </p:cBhvr>
                                      <p:tavLst>
                                        <p:tav tm="0" fmla="#ppt_y-sin(pi*$)/81">
                                          <p:val>
                                            <p:fltVal val="0"/>
                                          </p:val>
                                        </p:tav>
                                        <p:tav tm="100000">
                                          <p:val>
                                            <p:fltVal val="1"/>
                                          </p:val>
                                        </p:tav>
                                      </p:tavLst>
                                    </p:anim>
                                    <p:animScale>
                                      <p:cBhvr>
                                        <p:cTn id="139" dur="26">
                                          <p:stCondLst>
                                            <p:cond delay="650"/>
                                          </p:stCondLst>
                                        </p:cTn>
                                        <p:tgtEl>
                                          <p:spTgt spid="2">
                                            <p:txEl>
                                              <p:pRg st="7" end="7"/>
                                            </p:txEl>
                                          </p:spTgt>
                                        </p:tgtEl>
                                      </p:cBhvr>
                                      <p:to x="100000" y="60000"/>
                                    </p:animScale>
                                    <p:animScale>
                                      <p:cBhvr>
                                        <p:cTn id="140" dur="166" decel="50000">
                                          <p:stCondLst>
                                            <p:cond delay="676"/>
                                          </p:stCondLst>
                                        </p:cTn>
                                        <p:tgtEl>
                                          <p:spTgt spid="2">
                                            <p:txEl>
                                              <p:pRg st="7" end="7"/>
                                            </p:txEl>
                                          </p:spTgt>
                                        </p:tgtEl>
                                      </p:cBhvr>
                                      <p:to x="100000" y="100000"/>
                                    </p:animScale>
                                    <p:animScale>
                                      <p:cBhvr>
                                        <p:cTn id="141" dur="26">
                                          <p:stCondLst>
                                            <p:cond delay="1312"/>
                                          </p:stCondLst>
                                        </p:cTn>
                                        <p:tgtEl>
                                          <p:spTgt spid="2">
                                            <p:txEl>
                                              <p:pRg st="7" end="7"/>
                                            </p:txEl>
                                          </p:spTgt>
                                        </p:tgtEl>
                                      </p:cBhvr>
                                      <p:to x="100000" y="80000"/>
                                    </p:animScale>
                                    <p:animScale>
                                      <p:cBhvr>
                                        <p:cTn id="142" dur="166" decel="50000">
                                          <p:stCondLst>
                                            <p:cond delay="1338"/>
                                          </p:stCondLst>
                                        </p:cTn>
                                        <p:tgtEl>
                                          <p:spTgt spid="2">
                                            <p:txEl>
                                              <p:pRg st="7" end="7"/>
                                            </p:txEl>
                                          </p:spTgt>
                                        </p:tgtEl>
                                      </p:cBhvr>
                                      <p:to x="100000" y="100000"/>
                                    </p:animScale>
                                    <p:animScale>
                                      <p:cBhvr>
                                        <p:cTn id="143" dur="26">
                                          <p:stCondLst>
                                            <p:cond delay="1642"/>
                                          </p:stCondLst>
                                        </p:cTn>
                                        <p:tgtEl>
                                          <p:spTgt spid="2">
                                            <p:txEl>
                                              <p:pRg st="7" end="7"/>
                                            </p:txEl>
                                          </p:spTgt>
                                        </p:tgtEl>
                                      </p:cBhvr>
                                      <p:to x="100000" y="90000"/>
                                    </p:animScale>
                                    <p:animScale>
                                      <p:cBhvr>
                                        <p:cTn id="144" dur="166" decel="50000">
                                          <p:stCondLst>
                                            <p:cond delay="1668"/>
                                          </p:stCondLst>
                                        </p:cTn>
                                        <p:tgtEl>
                                          <p:spTgt spid="2">
                                            <p:txEl>
                                              <p:pRg st="7" end="7"/>
                                            </p:txEl>
                                          </p:spTgt>
                                        </p:tgtEl>
                                      </p:cBhvr>
                                      <p:to x="100000" y="100000"/>
                                    </p:animScale>
                                    <p:animScale>
                                      <p:cBhvr>
                                        <p:cTn id="145" dur="26">
                                          <p:stCondLst>
                                            <p:cond delay="1808"/>
                                          </p:stCondLst>
                                        </p:cTn>
                                        <p:tgtEl>
                                          <p:spTgt spid="2">
                                            <p:txEl>
                                              <p:pRg st="7" end="7"/>
                                            </p:txEl>
                                          </p:spTgt>
                                        </p:tgtEl>
                                      </p:cBhvr>
                                      <p:to x="100000" y="95000"/>
                                    </p:animScale>
                                    <p:animScale>
                                      <p:cBhvr>
                                        <p:cTn id="146" dur="166" decel="50000">
                                          <p:stCondLst>
                                            <p:cond delay="1834"/>
                                          </p:stCondLst>
                                        </p:cTn>
                                        <p:tgtEl>
                                          <p:spTgt spid="2">
                                            <p:txEl>
                                              <p:pRg st="7" end="7"/>
                                            </p:txEl>
                                          </p:spTgt>
                                        </p:tgtEl>
                                      </p:cBhvr>
                                      <p:to x="100000" y="100000"/>
                                    </p:animScale>
                                  </p:childTnLst>
                                </p:cTn>
                              </p:par>
                            </p:childTnLst>
                          </p:cTn>
                        </p:par>
                      </p:childTnLst>
                    </p:cTn>
                  </p:par>
                  <p:par>
                    <p:cTn id="147" fill="hold">
                      <p:stCondLst>
                        <p:cond delay="indefinite"/>
                      </p:stCondLst>
                      <p:childTnLst>
                        <p:par>
                          <p:cTn id="148" fill="hold">
                            <p:stCondLst>
                              <p:cond delay="0"/>
                            </p:stCondLst>
                            <p:childTnLst>
                              <p:par>
                                <p:cTn id="149" presetID="26" presetClass="entr" presetSubtype="0" fill="hold" nodeType="clickEffect">
                                  <p:stCondLst>
                                    <p:cond delay="0"/>
                                  </p:stCondLst>
                                  <p:childTnLst>
                                    <p:set>
                                      <p:cBhvr>
                                        <p:cTn id="150" dur="1" fill="hold">
                                          <p:stCondLst>
                                            <p:cond delay="0"/>
                                          </p:stCondLst>
                                        </p:cTn>
                                        <p:tgtEl>
                                          <p:spTgt spid="2">
                                            <p:txEl>
                                              <p:pRg st="8" end="8"/>
                                            </p:txEl>
                                          </p:spTgt>
                                        </p:tgtEl>
                                        <p:attrNameLst>
                                          <p:attrName>style.visibility</p:attrName>
                                        </p:attrNameLst>
                                      </p:cBhvr>
                                      <p:to>
                                        <p:strVal val="visible"/>
                                      </p:to>
                                    </p:set>
                                    <p:animEffect transition="in" filter="wipe(down)">
                                      <p:cBhvr>
                                        <p:cTn id="151" dur="580">
                                          <p:stCondLst>
                                            <p:cond delay="0"/>
                                          </p:stCondLst>
                                        </p:cTn>
                                        <p:tgtEl>
                                          <p:spTgt spid="2">
                                            <p:txEl>
                                              <p:pRg st="8" end="8"/>
                                            </p:txEl>
                                          </p:spTgt>
                                        </p:tgtEl>
                                      </p:cBhvr>
                                    </p:animEffect>
                                    <p:anim calcmode="lin" valueType="num">
                                      <p:cBhvr>
                                        <p:cTn id="152" dur="1822" tmFilter="0,0; 0.14,0.36; 0.43,0.73; 0.71,0.91; 1.0,1.0">
                                          <p:stCondLst>
                                            <p:cond delay="0"/>
                                          </p:stCondLst>
                                        </p:cTn>
                                        <p:tgtEl>
                                          <p:spTgt spid="2">
                                            <p:txEl>
                                              <p:pRg st="8" end="8"/>
                                            </p:txEl>
                                          </p:spTgt>
                                        </p:tgtEl>
                                        <p:attrNameLst>
                                          <p:attrName>ppt_x</p:attrName>
                                        </p:attrNameLst>
                                      </p:cBhvr>
                                      <p:tavLst>
                                        <p:tav tm="0">
                                          <p:val>
                                            <p:strVal val="#ppt_x-0.25"/>
                                          </p:val>
                                        </p:tav>
                                        <p:tav tm="100000">
                                          <p:val>
                                            <p:strVal val="#ppt_x"/>
                                          </p:val>
                                        </p:tav>
                                      </p:tavLst>
                                    </p:anim>
                                    <p:anim calcmode="lin" valueType="num">
                                      <p:cBhvr>
                                        <p:cTn id="153" dur="664" tmFilter="0.0,0.0; 0.25,0.07; 0.50,0.2; 0.75,0.467; 1.0,1.0">
                                          <p:stCondLst>
                                            <p:cond delay="0"/>
                                          </p:stCondLst>
                                        </p:cTn>
                                        <p:tgtEl>
                                          <p:spTgt spid="2">
                                            <p:txEl>
                                              <p:pRg st="8" end="8"/>
                                            </p:txEl>
                                          </p:spTgt>
                                        </p:tgtEl>
                                        <p:attrNameLst>
                                          <p:attrName>ppt_y</p:attrName>
                                        </p:attrNameLst>
                                      </p:cBhvr>
                                      <p:tavLst>
                                        <p:tav tm="0" fmla="#ppt_y-sin(pi*$)/3">
                                          <p:val>
                                            <p:fltVal val="0.5"/>
                                          </p:val>
                                        </p:tav>
                                        <p:tav tm="100000">
                                          <p:val>
                                            <p:fltVal val="1"/>
                                          </p:val>
                                        </p:tav>
                                      </p:tavLst>
                                    </p:anim>
                                    <p:anim calcmode="lin" valueType="num">
                                      <p:cBhvr>
                                        <p:cTn id="154" dur="664" tmFilter="0, 0; 0.125,0.2665; 0.25,0.4; 0.375,0.465; 0.5,0.5;  0.625,0.535; 0.75,0.6; 0.875,0.7335; 1,1">
                                          <p:stCondLst>
                                            <p:cond delay="664"/>
                                          </p:stCondLst>
                                        </p:cTn>
                                        <p:tgtEl>
                                          <p:spTgt spid="2">
                                            <p:txEl>
                                              <p:pRg st="8" end="8"/>
                                            </p:txEl>
                                          </p:spTgt>
                                        </p:tgtEl>
                                        <p:attrNameLst>
                                          <p:attrName>ppt_y</p:attrName>
                                        </p:attrNameLst>
                                      </p:cBhvr>
                                      <p:tavLst>
                                        <p:tav tm="0" fmla="#ppt_y-sin(pi*$)/9">
                                          <p:val>
                                            <p:fltVal val="0"/>
                                          </p:val>
                                        </p:tav>
                                        <p:tav tm="100000">
                                          <p:val>
                                            <p:fltVal val="1"/>
                                          </p:val>
                                        </p:tav>
                                      </p:tavLst>
                                    </p:anim>
                                    <p:anim calcmode="lin" valueType="num">
                                      <p:cBhvr>
                                        <p:cTn id="155" dur="332" tmFilter="0, 0; 0.125,0.2665; 0.25,0.4; 0.375,0.465; 0.5,0.5;  0.625,0.535; 0.75,0.6; 0.875,0.7335; 1,1">
                                          <p:stCondLst>
                                            <p:cond delay="1324"/>
                                          </p:stCondLst>
                                        </p:cTn>
                                        <p:tgtEl>
                                          <p:spTgt spid="2">
                                            <p:txEl>
                                              <p:pRg st="8" end="8"/>
                                            </p:txEl>
                                          </p:spTgt>
                                        </p:tgtEl>
                                        <p:attrNameLst>
                                          <p:attrName>ppt_y</p:attrName>
                                        </p:attrNameLst>
                                      </p:cBhvr>
                                      <p:tavLst>
                                        <p:tav tm="0" fmla="#ppt_y-sin(pi*$)/27">
                                          <p:val>
                                            <p:fltVal val="0"/>
                                          </p:val>
                                        </p:tav>
                                        <p:tav tm="100000">
                                          <p:val>
                                            <p:fltVal val="1"/>
                                          </p:val>
                                        </p:tav>
                                      </p:tavLst>
                                    </p:anim>
                                    <p:anim calcmode="lin" valueType="num">
                                      <p:cBhvr>
                                        <p:cTn id="156" dur="164" tmFilter="0, 0; 0.125,0.2665; 0.25,0.4; 0.375,0.465; 0.5,0.5;  0.625,0.535; 0.75,0.6; 0.875,0.7335; 1,1">
                                          <p:stCondLst>
                                            <p:cond delay="1656"/>
                                          </p:stCondLst>
                                        </p:cTn>
                                        <p:tgtEl>
                                          <p:spTgt spid="2">
                                            <p:txEl>
                                              <p:pRg st="8" end="8"/>
                                            </p:txEl>
                                          </p:spTgt>
                                        </p:tgtEl>
                                        <p:attrNameLst>
                                          <p:attrName>ppt_y</p:attrName>
                                        </p:attrNameLst>
                                      </p:cBhvr>
                                      <p:tavLst>
                                        <p:tav tm="0" fmla="#ppt_y-sin(pi*$)/81">
                                          <p:val>
                                            <p:fltVal val="0"/>
                                          </p:val>
                                        </p:tav>
                                        <p:tav tm="100000">
                                          <p:val>
                                            <p:fltVal val="1"/>
                                          </p:val>
                                        </p:tav>
                                      </p:tavLst>
                                    </p:anim>
                                    <p:animScale>
                                      <p:cBhvr>
                                        <p:cTn id="157" dur="26">
                                          <p:stCondLst>
                                            <p:cond delay="650"/>
                                          </p:stCondLst>
                                        </p:cTn>
                                        <p:tgtEl>
                                          <p:spTgt spid="2">
                                            <p:txEl>
                                              <p:pRg st="8" end="8"/>
                                            </p:txEl>
                                          </p:spTgt>
                                        </p:tgtEl>
                                      </p:cBhvr>
                                      <p:to x="100000" y="60000"/>
                                    </p:animScale>
                                    <p:animScale>
                                      <p:cBhvr>
                                        <p:cTn id="158" dur="166" decel="50000">
                                          <p:stCondLst>
                                            <p:cond delay="676"/>
                                          </p:stCondLst>
                                        </p:cTn>
                                        <p:tgtEl>
                                          <p:spTgt spid="2">
                                            <p:txEl>
                                              <p:pRg st="8" end="8"/>
                                            </p:txEl>
                                          </p:spTgt>
                                        </p:tgtEl>
                                      </p:cBhvr>
                                      <p:to x="100000" y="100000"/>
                                    </p:animScale>
                                    <p:animScale>
                                      <p:cBhvr>
                                        <p:cTn id="159" dur="26">
                                          <p:stCondLst>
                                            <p:cond delay="1312"/>
                                          </p:stCondLst>
                                        </p:cTn>
                                        <p:tgtEl>
                                          <p:spTgt spid="2">
                                            <p:txEl>
                                              <p:pRg st="8" end="8"/>
                                            </p:txEl>
                                          </p:spTgt>
                                        </p:tgtEl>
                                      </p:cBhvr>
                                      <p:to x="100000" y="80000"/>
                                    </p:animScale>
                                    <p:animScale>
                                      <p:cBhvr>
                                        <p:cTn id="160" dur="166" decel="50000">
                                          <p:stCondLst>
                                            <p:cond delay="1338"/>
                                          </p:stCondLst>
                                        </p:cTn>
                                        <p:tgtEl>
                                          <p:spTgt spid="2">
                                            <p:txEl>
                                              <p:pRg st="8" end="8"/>
                                            </p:txEl>
                                          </p:spTgt>
                                        </p:tgtEl>
                                      </p:cBhvr>
                                      <p:to x="100000" y="100000"/>
                                    </p:animScale>
                                    <p:animScale>
                                      <p:cBhvr>
                                        <p:cTn id="161" dur="26">
                                          <p:stCondLst>
                                            <p:cond delay="1642"/>
                                          </p:stCondLst>
                                        </p:cTn>
                                        <p:tgtEl>
                                          <p:spTgt spid="2">
                                            <p:txEl>
                                              <p:pRg st="8" end="8"/>
                                            </p:txEl>
                                          </p:spTgt>
                                        </p:tgtEl>
                                      </p:cBhvr>
                                      <p:to x="100000" y="90000"/>
                                    </p:animScale>
                                    <p:animScale>
                                      <p:cBhvr>
                                        <p:cTn id="162" dur="166" decel="50000">
                                          <p:stCondLst>
                                            <p:cond delay="1668"/>
                                          </p:stCondLst>
                                        </p:cTn>
                                        <p:tgtEl>
                                          <p:spTgt spid="2">
                                            <p:txEl>
                                              <p:pRg st="8" end="8"/>
                                            </p:txEl>
                                          </p:spTgt>
                                        </p:tgtEl>
                                      </p:cBhvr>
                                      <p:to x="100000" y="100000"/>
                                    </p:animScale>
                                    <p:animScale>
                                      <p:cBhvr>
                                        <p:cTn id="163" dur="26">
                                          <p:stCondLst>
                                            <p:cond delay="1808"/>
                                          </p:stCondLst>
                                        </p:cTn>
                                        <p:tgtEl>
                                          <p:spTgt spid="2">
                                            <p:txEl>
                                              <p:pRg st="8" end="8"/>
                                            </p:txEl>
                                          </p:spTgt>
                                        </p:tgtEl>
                                      </p:cBhvr>
                                      <p:to x="100000" y="95000"/>
                                    </p:animScale>
                                    <p:animScale>
                                      <p:cBhvr>
                                        <p:cTn id="164" dur="166" decel="50000">
                                          <p:stCondLst>
                                            <p:cond delay="1834"/>
                                          </p:stCondLst>
                                        </p:cTn>
                                        <p:tgtEl>
                                          <p:spTgt spid="2">
                                            <p:txEl>
                                              <p:pRg st="8" end="8"/>
                                            </p:txEl>
                                          </p:spTgt>
                                        </p:tgtEl>
                                      </p:cBhvr>
                                      <p:to x="100000" y="100000"/>
                                    </p:animScale>
                                  </p:childTnLst>
                                </p:cTn>
                              </p:par>
                            </p:childTnLst>
                          </p:cTn>
                        </p:par>
                      </p:childTnLst>
                    </p:cTn>
                  </p:par>
                  <p:par>
                    <p:cTn id="165" fill="hold">
                      <p:stCondLst>
                        <p:cond delay="indefinite"/>
                      </p:stCondLst>
                      <p:childTnLst>
                        <p:par>
                          <p:cTn id="166" fill="hold">
                            <p:stCondLst>
                              <p:cond delay="0"/>
                            </p:stCondLst>
                            <p:childTnLst>
                              <p:par>
                                <p:cTn id="167" presetID="26" presetClass="entr" presetSubtype="0" fill="hold" nodeType="clickEffect">
                                  <p:stCondLst>
                                    <p:cond delay="0"/>
                                  </p:stCondLst>
                                  <p:childTnLst>
                                    <p:set>
                                      <p:cBhvr>
                                        <p:cTn id="168" dur="1" fill="hold">
                                          <p:stCondLst>
                                            <p:cond delay="0"/>
                                          </p:stCondLst>
                                        </p:cTn>
                                        <p:tgtEl>
                                          <p:spTgt spid="2">
                                            <p:txEl>
                                              <p:pRg st="9" end="9"/>
                                            </p:txEl>
                                          </p:spTgt>
                                        </p:tgtEl>
                                        <p:attrNameLst>
                                          <p:attrName>style.visibility</p:attrName>
                                        </p:attrNameLst>
                                      </p:cBhvr>
                                      <p:to>
                                        <p:strVal val="visible"/>
                                      </p:to>
                                    </p:set>
                                    <p:animEffect transition="in" filter="wipe(down)">
                                      <p:cBhvr>
                                        <p:cTn id="169" dur="580">
                                          <p:stCondLst>
                                            <p:cond delay="0"/>
                                          </p:stCondLst>
                                        </p:cTn>
                                        <p:tgtEl>
                                          <p:spTgt spid="2">
                                            <p:txEl>
                                              <p:pRg st="9" end="9"/>
                                            </p:txEl>
                                          </p:spTgt>
                                        </p:tgtEl>
                                      </p:cBhvr>
                                    </p:animEffect>
                                    <p:anim calcmode="lin" valueType="num">
                                      <p:cBhvr>
                                        <p:cTn id="170" dur="1822" tmFilter="0,0; 0.14,0.36; 0.43,0.73; 0.71,0.91; 1.0,1.0">
                                          <p:stCondLst>
                                            <p:cond delay="0"/>
                                          </p:stCondLst>
                                        </p:cTn>
                                        <p:tgtEl>
                                          <p:spTgt spid="2">
                                            <p:txEl>
                                              <p:pRg st="9" end="9"/>
                                            </p:txEl>
                                          </p:spTgt>
                                        </p:tgtEl>
                                        <p:attrNameLst>
                                          <p:attrName>ppt_x</p:attrName>
                                        </p:attrNameLst>
                                      </p:cBhvr>
                                      <p:tavLst>
                                        <p:tav tm="0">
                                          <p:val>
                                            <p:strVal val="#ppt_x-0.25"/>
                                          </p:val>
                                        </p:tav>
                                        <p:tav tm="100000">
                                          <p:val>
                                            <p:strVal val="#ppt_x"/>
                                          </p:val>
                                        </p:tav>
                                      </p:tavLst>
                                    </p:anim>
                                    <p:anim calcmode="lin" valueType="num">
                                      <p:cBhvr>
                                        <p:cTn id="171" dur="664" tmFilter="0.0,0.0; 0.25,0.07; 0.50,0.2; 0.75,0.467; 1.0,1.0">
                                          <p:stCondLst>
                                            <p:cond delay="0"/>
                                          </p:stCondLst>
                                        </p:cTn>
                                        <p:tgtEl>
                                          <p:spTgt spid="2">
                                            <p:txEl>
                                              <p:pRg st="9" end="9"/>
                                            </p:txEl>
                                          </p:spTgt>
                                        </p:tgtEl>
                                        <p:attrNameLst>
                                          <p:attrName>ppt_y</p:attrName>
                                        </p:attrNameLst>
                                      </p:cBhvr>
                                      <p:tavLst>
                                        <p:tav tm="0" fmla="#ppt_y-sin(pi*$)/3">
                                          <p:val>
                                            <p:fltVal val="0.5"/>
                                          </p:val>
                                        </p:tav>
                                        <p:tav tm="100000">
                                          <p:val>
                                            <p:fltVal val="1"/>
                                          </p:val>
                                        </p:tav>
                                      </p:tavLst>
                                    </p:anim>
                                    <p:anim calcmode="lin" valueType="num">
                                      <p:cBhvr>
                                        <p:cTn id="172" dur="664" tmFilter="0, 0; 0.125,0.2665; 0.25,0.4; 0.375,0.465; 0.5,0.5;  0.625,0.535; 0.75,0.6; 0.875,0.7335; 1,1">
                                          <p:stCondLst>
                                            <p:cond delay="664"/>
                                          </p:stCondLst>
                                        </p:cTn>
                                        <p:tgtEl>
                                          <p:spTgt spid="2">
                                            <p:txEl>
                                              <p:pRg st="9" end="9"/>
                                            </p:txEl>
                                          </p:spTgt>
                                        </p:tgtEl>
                                        <p:attrNameLst>
                                          <p:attrName>ppt_y</p:attrName>
                                        </p:attrNameLst>
                                      </p:cBhvr>
                                      <p:tavLst>
                                        <p:tav tm="0" fmla="#ppt_y-sin(pi*$)/9">
                                          <p:val>
                                            <p:fltVal val="0"/>
                                          </p:val>
                                        </p:tav>
                                        <p:tav tm="100000">
                                          <p:val>
                                            <p:fltVal val="1"/>
                                          </p:val>
                                        </p:tav>
                                      </p:tavLst>
                                    </p:anim>
                                    <p:anim calcmode="lin" valueType="num">
                                      <p:cBhvr>
                                        <p:cTn id="173" dur="332" tmFilter="0, 0; 0.125,0.2665; 0.25,0.4; 0.375,0.465; 0.5,0.5;  0.625,0.535; 0.75,0.6; 0.875,0.7335; 1,1">
                                          <p:stCondLst>
                                            <p:cond delay="1324"/>
                                          </p:stCondLst>
                                        </p:cTn>
                                        <p:tgtEl>
                                          <p:spTgt spid="2">
                                            <p:txEl>
                                              <p:pRg st="9" end="9"/>
                                            </p:txEl>
                                          </p:spTgt>
                                        </p:tgtEl>
                                        <p:attrNameLst>
                                          <p:attrName>ppt_y</p:attrName>
                                        </p:attrNameLst>
                                      </p:cBhvr>
                                      <p:tavLst>
                                        <p:tav tm="0" fmla="#ppt_y-sin(pi*$)/27">
                                          <p:val>
                                            <p:fltVal val="0"/>
                                          </p:val>
                                        </p:tav>
                                        <p:tav tm="100000">
                                          <p:val>
                                            <p:fltVal val="1"/>
                                          </p:val>
                                        </p:tav>
                                      </p:tavLst>
                                    </p:anim>
                                    <p:anim calcmode="lin" valueType="num">
                                      <p:cBhvr>
                                        <p:cTn id="174" dur="164" tmFilter="0, 0; 0.125,0.2665; 0.25,0.4; 0.375,0.465; 0.5,0.5;  0.625,0.535; 0.75,0.6; 0.875,0.7335; 1,1">
                                          <p:stCondLst>
                                            <p:cond delay="1656"/>
                                          </p:stCondLst>
                                        </p:cTn>
                                        <p:tgtEl>
                                          <p:spTgt spid="2">
                                            <p:txEl>
                                              <p:pRg st="9" end="9"/>
                                            </p:txEl>
                                          </p:spTgt>
                                        </p:tgtEl>
                                        <p:attrNameLst>
                                          <p:attrName>ppt_y</p:attrName>
                                        </p:attrNameLst>
                                      </p:cBhvr>
                                      <p:tavLst>
                                        <p:tav tm="0" fmla="#ppt_y-sin(pi*$)/81">
                                          <p:val>
                                            <p:fltVal val="0"/>
                                          </p:val>
                                        </p:tav>
                                        <p:tav tm="100000">
                                          <p:val>
                                            <p:fltVal val="1"/>
                                          </p:val>
                                        </p:tav>
                                      </p:tavLst>
                                    </p:anim>
                                    <p:animScale>
                                      <p:cBhvr>
                                        <p:cTn id="175" dur="26">
                                          <p:stCondLst>
                                            <p:cond delay="650"/>
                                          </p:stCondLst>
                                        </p:cTn>
                                        <p:tgtEl>
                                          <p:spTgt spid="2">
                                            <p:txEl>
                                              <p:pRg st="9" end="9"/>
                                            </p:txEl>
                                          </p:spTgt>
                                        </p:tgtEl>
                                      </p:cBhvr>
                                      <p:to x="100000" y="60000"/>
                                    </p:animScale>
                                    <p:animScale>
                                      <p:cBhvr>
                                        <p:cTn id="176" dur="166" decel="50000">
                                          <p:stCondLst>
                                            <p:cond delay="676"/>
                                          </p:stCondLst>
                                        </p:cTn>
                                        <p:tgtEl>
                                          <p:spTgt spid="2">
                                            <p:txEl>
                                              <p:pRg st="9" end="9"/>
                                            </p:txEl>
                                          </p:spTgt>
                                        </p:tgtEl>
                                      </p:cBhvr>
                                      <p:to x="100000" y="100000"/>
                                    </p:animScale>
                                    <p:animScale>
                                      <p:cBhvr>
                                        <p:cTn id="177" dur="26">
                                          <p:stCondLst>
                                            <p:cond delay="1312"/>
                                          </p:stCondLst>
                                        </p:cTn>
                                        <p:tgtEl>
                                          <p:spTgt spid="2">
                                            <p:txEl>
                                              <p:pRg st="9" end="9"/>
                                            </p:txEl>
                                          </p:spTgt>
                                        </p:tgtEl>
                                      </p:cBhvr>
                                      <p:to x="100000" y="80000"/>
                                    </p:animScale>
                                    <p:animScale>
                                      <p:cBhvr>
                                        <p:cTn id="178" dur="166" decel="50000">
                                          <p:stCondLst>
                                            <p:cond delay="1338"/>
                                          </p:stCondLst>
                                        </p:cTn>
                                        <p:tgtEl>
                                          <p:spTgt spid="2">
                                            <p:txEl>
                                              <p:pRg st="9" end="9"/>
                                            </p:txEl>
                                          </p:spTgt>
                                        </p:tgtEl>
                                      </p:cBhvr>
                                      <p:to x="100000" y="100000"/>
                                    </p:animScale>
                                    <p:animScale>
                                      <p:cBhvr>
                                        <p:cTn id="179" dur="26">
                                          <p:stCondLst>
                                            <p:cond delay="1642"/>
                                          </p:stCondLst>
                                        </p:cTn>
                                        <p:tgtEl>
                                          <p:spTgt spid="2">
                                            <p:txEl>
                                              <p:pRg st="9" end="9"/>
                                            </p:txEl>
                                          </p:spTgt>
                                        </p:tgtEl>
                                      </p:cBhvr>
                                      <p:to x="100000" y="90000"/>
                                    </p:animScale>
                                    <p:animScale>
                                      <p:cBhvr>
                                        <p:cTn id="180" dur="166" decel="50000">
                                          <p:stCondLst>
                                            <p:cond delay="1668"/>
                                          </p:stCondLst>
                                        </p:cTn>
                                        <p:tgtEl>
                                          <p:spTgt spid="2">
                                            <p:txEl>
                                              <p:pRg st="9" end="9"/>
                                            </p:txEl>
                                          </p:spTgt>
                                        </p:tgtEl>
                                      </p:cBhvr>
                                      <p:to x="100000" y="100000"/>
                                    </p:animScale>
                                    <p:animScale>
                                      <p:cBhvr>
                                        <p:cTn id="181" dur="26">
                                          <p:stCondLst>
                                            <p:cond delay="1808"/>
                                          </p:stCondLst>
                                        </p:cTn>
                                        <p:tgtEl>
                                          <p:spTgt spid="2">
                                            <p:txEl>
                                              <p:pRg st="9" end="9"/>
                                            </p:txEl>
                                          </p:spTgt>
                                        </p:tgtEl>
                                      </p:cBhvr>
                                      <p:to x="100000" y="95000"/>
                                    </p:animScale>
                                    <p:animScale>
                                      <p:cBhvr>
                                        <p:cTn id="182" dur="166" decel="50000">
                                          <p:stCondLst>
                                            <p:cond delay="1834"/>
                                          </p:stCondLst>
                                        </p:cTn>
                                        <p:tgtEl>
                                          <p:spTgt spid="2">
                                            <p:txEl>
                                              <p:pRg st="9" end="9"/>
                                            </p:txEl>
                                          </p:spTgt>
                                        </p:tgtEl>
                                      </p:cBhvr>
                                      <p:to x="100000" y="100000"/>
                                    </p:animScale>
                                  </p:childTnLst>
                                </p:cTn>
                              </p:par>
                            </p:childTnLst>
                          </p:cTn>
                        </p:par>
                      </p:childTnLst>
                    </p:cTn>
                  </p:par>
                  <p:par>
                    <p:cTn id="183" fill="hold">
                      <p:stCondLst>
                        <p:cond delay="indefinite"/>
                      </p:stCondLst>
                      <p:childTnLst>
                        <p:par>
                          <p:cTn id="184" fill="hold">
                            <p:stCondLst>
                              <p:cond delay="0"/>
                            </p:stCondLst>
                            <p:childTnLst>
                              <p:par>
                                <p:cTn id="185" presetID="26" presetClass="entr" presetSubtype="0" fill="hold" nodeType="clickEffect">
                                  <p:stCondLst>
                                    <p:cond delay="0"/>
                                  </p:stCondLst>
                                  <p:childTnLst>
                                    <p:set>
                                      <p:cBhvr>
                                        <p:cTn id="186" dur="1" fill="hold">
                                          <p:stCondLst>
                                            <p:cond delay="0"/>
                                          </p:stCondLst>
                                        </p:cTn>
                                        <p:tgtEl>
                                          <p:spTgt spid="2">
                                            <p:txEl>
                                              <p:pRg st="10" end="10"/>
                                            </p:txEl>
                                          </p:spTgt>
                                        </p:tgtEl>
                                        <p:attrNameLst>
                                          <p:attrName>style.visibility</p:attrName>
                                        </p:attrNameLst>
                                      </p:cBhvr>
                                      <p:to>
                                        <p:strVal val="visible"/>
                                      </p:to>
                                    </p:set>
                                    <p:animEffect transition="in" filter="wipe(down)">
                                      <p:cBhvr>
                                        <p:cTn id="187" dur="580">
                                          <p:stCondLst>
                                            <p:cond delay="0"/>
                                          </p:stCondLst>
                                        </p:cTn>
                                        <p:tgtEl>
                                          <p:spTgt spid="2">
                                            <p:txEl>
                                              <p:pRg st="10" end="10"/>
                                            </p:txEl>
                                          </p:spTgt>
                                        </p:tgtEl>
                                      </p:cBhvr>
                                    </p:animEffect>
                                    <p:anim calcmode="lin" valueType="num">
                                      <p:cBhvr>
                                        <p:cTn id="188" dur="1822" tmFilter="0,0; 0.14,0.36; 0.43,0.73; 0.71,0.91; 1.0,1.0">
                                          <p:stCondLst>
                                            <p:cond delay="0"/>
                                          </p:stCondLst>
                                        </p:cTn>
                                        <p:tgtEl>
                                          <p:spTgt spid="2">
                                            <p:txEl>
                                              <p:pRg st="10" end="10"/>
                                            </p:txEl>
                                          </p:spTgt>
                                        </p:tgtEl>
                                        <p:attrNameLst>
                                          <p:attrName>ppt_x</p:attrName>
                                        </p:attrNameLst>
                                      </p:cBhvr>
                                      <p:tavLst>
                                        <p:tav tm="0">
                                          <p:val>
                                            <p:strVal val="#ppt_x-0.25"/>
                                          </p:val>
                                        </p:tav>
                                        <p:tav tm="100000">
                                          <p:val>
                                            <p:strVal val="#ppt_x"/>
                                          </p:val>
                                        </p:tav>
                                      </p:tavLst>
                                    </p:anim>
                                    <p:anim calcmode="lin" valueType="num">
                                      <p:cBhvr>
                                        <p:cTn id="189" dur="664" tmFilter="0.0,0.0; 0.25,0.07; 0.50,0.2; 0.75,0.467; 1.0,1.0">
                                          <p:stCondLst>
                                            <p:cond delay="0"/>
                                          </p:stCondLst>
                                        </p:cTn>
                                        <p:tgtEl>
                                          <p:spTgt spid="2">
                                            <p:txEl>
                                              <p:pRg st="10" end="10"/>
                                            </p:txEl>
                                          </p:spTgt>
                                        </p:tgtEl>
                                        <p:attrNameLst>
                                          <p:attrName>ppt_y</p:attrName>
                                        </p:attrNameLst>
                                      </p:cBhvr>
                                      <p:tavLst>
                                        <p:tav tm="0" fmla="#ppt_y-sin(pi*$)/3">
                                          <p:val>
                                            <p:fltVal val="0.5"/>
                                          </p:val>
                                        </p:tav>
                                        <p:tav tm="100000">
                                          <p:val>
                                            <p:fltVal val="1"/>
                                          </p:val>
                                        </p:tav>
                                      </p:tavLst>
                                    </p:anim>
                                    <p:anim calcmode="lin" valueType="num">
                                      <p:cBhvr>
                                        <p:cTn id="190" dur="664" tmFilter="0, 0; 0.125,0.2665; 0.25,0.4; 0.375,0.465; 0.5,0.5;  0.625,0.535; 0.75,0.6; 0.875,0.7335; 1,1">
                                          <p:stCondLst>
                                            <p:cond delay="664"/>
                                          </p:stCondLst>
                                        </p:cTn>
                                        <p:tgtEl>
                                          <p:spTgt spid="2">
                                            <p:txEl>
                                              <p:pRg st="10" end="10"/>
                                            </p:txEl>
                                          </p:spTgt>
                                        </p:tgtEl>
                                        <p:attrNameLst>
                                          <p:attrName>ppt_y</p:attrName>
                                        </p:attrNameLst>
                                      </p:cBhvr>
                                      <p:tavLst>
                                        <p:tav tm="0" fmla="#ppt_y-sin(pi*$)/9">
                                          <p:val>
                                            <p:fltVal val="0"/>
                                          </p:val>
                                        </p:tav>
                                        <p:tav tm="100000">
                                          <p:val>
                                            <p:fltVal val="1"/>
                                          </p:val>
                                        </p:tav>
                                      </p:tavLst>
                                    </p:anim>
                                    <p:anim calcmode="lin" valueType="num">
                                      <p:cBhvr>
                                        <p:cTn id="191" dur="332" tmFilter="0, 0; 0.125,0.2665; 0.25,0.4; 0.375,0.465; 0.5,0.5;  0.625,0.535; 0.75,0.6; 0.875,0.7335; 1,1">
                                          <p:stCondLst>
                                            <p:cond delay="1324"/>
                                          </p:stCondLst>
                                        </p:cTn>
                                        <p:tgtEl>
                                          <p:spTgt spid="2">
                                            <p:txEl>
                                              <p:pRg st="10" end="10"/>
                                            </p:txEl>
                                          </p:spTgt>
                                        </p:tgtEl>
                                        <p:attrNameLst>
                                          <p:attrName>ppt_y</p:attrName>
                                        </p:attrNameLst>
                                      </p:cBhvr>
                                      <p:tavLst>
                                        <p:tav tm="0" fmla="#ppt_y-sin(pi*$)/27">
                                          <p:val>
                                            <p:fltVal val="0"/>
                                          </p:val>
                                        </p:tav>
                                        <p:tav tm="100000">
                                          <p:val>
                                            <p:fltVal val="1"/>
                                          </p:val>
                                        </p:tav>
                                      </p:tavLst>
                                    </p:anim>
                                    <p:anim calcmode="lin" valueType="num">
                                      <p:cBhvr>
                                        <p:cTn id="192" dur="164" tmFilter="0, 0; 0.125,0.2665; 0.25,0.4; 0.375,0.465; 0.5,0.5;  0.625,0.535; 0.75,0.6; 0.875,0.7335; 1,1">
                                          <p:stCondLst>
                                            <p:cond delay="1656"/>
                                          </p:stCondLst>
                                        </p:cTn>
                                        <p:tgtEl>
                                          <p:spTgt spid="2">
                                            <p:txEl>
                                              <p:pRg st="10" end="10"/>
                                            </p:txEl>
                                          </p:spTgt>
                                        </p:tgtEl>
                                        <p:attrNameLst>
                                          <p:attrName>ppt_y</p:attrName>
                                        </p:attrNameLst>
                                      </p:cBhvr>
                                      <p:tavLst>
                                        <p:tav tm="0" fmla="#ppt_y-sin(pi*$)/81">
                                          <p:val>
                                            <p:fltVal val="0"/>
                                          </p:val>
                                        </p:tav>
                                        <p:tav tm="100000">
                                          <p:val>
                                            <p:fltVal val="1"/>
                                          </p:val>
                                        </p:tav>
                                      </p:tavLst>
                                    </p:anim>
                                    <p:animScale>
                                      <p:cBhvr>
                                        <p:cTn id="193" dur="26">
                                          <p:stCondLst>
                                            <p:cond delay="650"/>
                                          </p:stCondLst>
                                        </p:cTn>
                                        <p:tgtEl>
                                          <p:spTgt spid="2">
                                            <p:txEl>
                                              <p:pRg st="10" end="10"/>
                                            </p:txEl>
                                          </p:spTgt>
                                        </p:tgtEl>
                                      </p:cBhvr>
                                      <p:to x="100000" y="60000"/>
                                    </p:animScale>
                                    <p:animScale>
                                      <p:cBhvr>
                                        <p:cTn id="194" dur="166" decel="50000">
                                          <p:stCondLst>
                                            <p:cond delay="676"/>
                                          </p:stCondLst>
                                        </p:cTn>
                                        <p:tgtEl>
                                          <p:spTgt spid="2">
                                            <p:txEl>
                                              <p:pRg st="10" end="10"/>
                                            </p:txEl>
                                          </p:spTgt>
                                        </p:tgtEl>
                                      </p:cBhvr>
                                      <p:to x="100000" y="100000"/>
                                    </p:animScale>
                                    <p:animScale>
                                      <p:cBhvr>
                                        <p:cTn id="195" dur="26">
                                          <p:stCondLst>
                                            <p:cond delay="1312"/>
                                          </p:stCondLst>
                                        </p:cTn>
                                        <p:tgtEl>
                                          <p:spTgt spid="2">
                                            <p:txEl>
                                              <p:pRg st="10" end="10"/>
                                            </p:txEl>
                                          </p:spTgt>
                                        </p:tgtEl>
                                      </p:cBhvr>
                                      <p:to x="100000" y="80000"/>
                                    </p:animScale>
                                    <p:animScale>
                                      <p:cBhvr>
                                        <p:cTn id="196" dur="166" decel="50000">
                                          <p:stCondLst>
                                            <p:cond delay="1338"/>
                                          </p:stCondLst>
                                        </p:cTn>
                                        <p:tgtEl>
                                          <p:spTgt spid="2">
                                            <p:txEl>
                                              <p:pRg st="10" end="10"/>
                                            </p:txEl>
                                          </p:spTgt>
                                        </p:tgtEl>
                                      </p:cBhvr>
                                      <p:to x="100000" y="100000"/>
                                    </p:animScale>
                                    <p:animScale>
                                      <p:cBhvr>
                                        <p:cTn id="197" dur="26">
                                          <p:stCondLst>
                                            <p:cond delay="1642"/>
                                          </p:stCondLst>
                                        </p:cTn>
                                        <p:tgtEl>
                                          <p:spTgt spid="2">
                                            <p:txEl>
                                              <p:pRg st="10" end="10"/>
                                            </p:txEl>
                                          </p:spTgt>
                                        </p:tgtEl>
                                      </p:cBhvr>
                                      <p:to x="100000" y="90000"/>
                                    </p:animScale>
                                    <p:animScale>
                                      <p:cBhvr>
                                        <p:cTn id="198" dur="166" decel="50000">
                                          <p:stCondLst>
                                            <p:cond delay="1668"/>
                                          </p:stCondLst>
                                        </p:cTn>
                                        <p:tgtEl>
                                          <p:spTgt spid="2">
                                            <p:txEl>
                                              <p:pRg st="10" end="10"/>
                                            </p:txEl>
                                          </p:spTgt>
                                        </p:tgtEl>
                                      </p:cBhvr>
                                      <p:to x="100000" y="100000"/>
                                    </p:animScale>
                                    <p:animScale>
                                      <p:cBhvr>
                                        <p:cTn id="199" dur="26">
                                          <p:stCondLst>
                                            <p:cond delay="1808"/>
                                          </p:stCondLst>
                                        </p:cTn>
                                        <p:tgtEl>
                                          <p:spTgt spid="2">
                                            <p:txEl>
                                              <p:pRg st="10" end="10"/>
                                            </p:txEl>
                                          </p:spTgt>
                                        </p:tgtEl>
                                      </p:cBhvr>
                                      <p:to x="100000" y="95000"/>
                                    </p:animScale>
                                    <p:animScale>
                                      <p:cBhvr>
                                        <p:cTn id="200" dur="166" decel="50000">
                                          <p:stCondLst>
                                            <p:cond delay="1834"/>
                                          </p:stCondLst>
                                        </p:cTn>
                                        <p:tgtEl>
                                          <p:spTgt spid="2">
                                            <p:txEl>
                                              <p:pRg st="10" end="10"/>
                                            </p:txEl>
                                          </p:spTgt>
                                        </p:tgtEl>
                                      </p:cBhvr>
                                      <p:to x="100000" y="100000"/>
                                    </p:animScale>
                                  </p:childTnLst>
                                </p:cTn>
                              </p:par>
                            </p:childTnLst>
                          </p:cTn>
                        </p:par>
                      </p:childTnLst>
                    </p:cTn>
                  </p:par>
                  <p:par>
                    <p:cTn id="201" fill="hold">
                      <p:stCondLst>
                        <p:cond delay="indefinite"/>
                      </p:stCondLst>
                      <p:childTnLst>
                        <p:par>
                          <p:cTn id="202" fill="hold">
                            <p:stCondLst>
                              <p:cond delay="0"/>
                            </p:stCondLst>
                            <p:childTnLst>
                              <p:par>
                                <p:cTn id="203" presetID="26" presetClass="entr" presetSubtype="0" fill="hold" nodeType="clickEffect">
                                  <p:stCondLst>
                                    <p:cond delay="0"/>
                                  </p:stCondLst>
                                  <p:childTnLst>
                                    <p:set>
                                      <p:cBhvr>
                                        <p:cTn id="204" dur="1" fill="hold">
                                          <p:stCondLst>
                                            <p:cond delay="0"/>
                                          </p:stCondLst>
                                        </p:cTn>
                                        <p:tgtEl>
                                          <p:spTgt spid="2">
                                            <p:txEl>
                                              <p:pRg st="11" end="11"/>
                                            </p:txEl>
                                          </p:spTgt>
                                        </p:tgtEl>
                                        <p:attrNameLst>
                                          <p:attrName>style.visibility</p:attrName>
                                        </p:attrNameLst>
                                      </p:cBhvr>
                                      <p:to>
                                        <p:strVal val="visible"/>
                                      </p:to>
                                    </p:set>
                                    <p:animEffect transition="in" filter="wipe(down)">
                                      <p:cBhvr>
                                        <p:cTn id="205" dur="580">
                                          <p:stCondLst>
                                            <p:cond delay="0"/>
                                          </p:stCondLst>
                                        </p:cTn>
                                        <p:tgtEl>
                                          <p:spTgt spid="2">
                                            <p:txEl>
                                              <p:pRg st="11" end="11"/>
                                            </p:txEl>
                                          </p:spTgt>
                                        </p:tgtEl>
                                      </p:cBhvr>
                                    </p:animEffect>
                                    <p:anim calcmode="lin" valueType="num">
                                      <p:cBhvr>
                                        <p:cTn id="206" dur="1822" tmFilter="0,0; 0.14,0.36; 0.43,0.73; 0.71,0.91; 1.0,1.0">
                                          <p:stCondLst>
                                            <p:cond delay="0"/>
                                          </p:stCondLst>
                                        </p:cTn>
                                        <p:tgtEl>
                                          <p:spTgt spid="2">
                                            <p:txEl>
                                              <p:pRg st="11" end="11"/>
                                            </p:txEl>
                                          </p:spTgt>
                                        </p:tgtEl>
                                        <p:attrNameLst>
                                          <p:attrName>ppt_x</p:attrName>
                                        </p:attrNameLst>
                                      </p:cBhvr>
                                      <p:tavLst>
                                        <p:tav tm="0">
                                          <p:val>
                                            <p:strVal val="#ppt_x-0.25"/>
                                          </p:val>
                                        </p:tav>
                                        <p:tav tm="100000">
                                          <p:val>
                                            <p:strVal val="#ppt_x"/>
                                          </p:val>
                                        </p:tav>
                                      </p:tavLst>
                                    </p:anim>
                                    <p:anim calcmode="lin" valueType="num">
                                      <p:cBhvr>
                                        <p:cTn id="207" dur="664" tmFilter="0.0,0.0; 0.25,0.07; 0.50,0.2; 0.75,0.467; 1.0,1.0">
                                          <p:stCondLst>
                                            <p:cond delay="0"/>
                                          </p:stCondLst>
                                        </p:cTn>
                                        <p:tgtEl>
                                          <p:spTgt spid="2">
                                            <p:txEl>
                                              <p:pRg st="11" end="11"/>
                                            </p:txEl>
                                          </p:spTgt>
                                        </p:tgtEl>
                                        <p:attrNameLst>
                                          <p:attrName>ppt_y</p:attrName>
                                        </p:attrNameLst>
                                      </p:cBhvr>
                                      <p:tavLst>
                                        <p:tav tm="0" fmla="#ppt_y-sin(pi*$)/3">
                                          <p:val>
                                            <p:fltVal val="0.5"/>
                                          </p:val>
                                        </p:tav>
                                        <p:tav tm="100000">
                                          <p:val>
                                            <p:fltVal val="1"/>
                                          </p:val>
                                        </p:tav>
                                      </p:tavLst>
                                    </p:anim>
                                    <p:anim calcmode="lin" valueType="num">
                                      <p:cBhvr>
                                        <p:cTn id="208" dur="664" tmFilter="0, 0; 0.125,0.2665; 0.25,0.4; 0.375,0.465; 0.5,0.5;  0.625,0.535; 0.75,0.6; 0.875,0.7335; 1,1">
                                          <p:stCondLst>
                                            <p:cond delay="664"/>
                                          </p:stCondLst>
                                        </p:cTn>
                                        <p:tgtEl>
                                          <p:spTgt spid="2">
                                            <p:txEl>
                                              <p:pRg st="11" end="11"/>
                                            </p:txEl>
                                          </p:spTgt>
                                        </p:tgtEl>
                                        <p:attrNameLst>
                                          <p:attrName>ppt_y</p:attrName>
                                        </p:attrNameLst>
                                      </p:cBhvr>
                                      <p:tavLst>
                                        <p:tav tm="0" fmla="#ppt_y-sin(pi*$)/9">
                                          <p:val>
                                            <p:fltVal val="0"/>
                                          </p:val>
                                        </p:tav>
                                        <p:tav tm="100000">
                                          <p:val>
                                            <p:fltVal val="1"/>
                                          </p:val>
                                        </p:tav>
                                      </p:tavLst>
                                    </p:anim>
                                    <p:anim calcmode="lin" valueType="num">
                                      <p:cBhvr>
                                        <p:cTn id="209" dur="332" tmFilter="0, 0; 0.125,0.2665; 0.25,0.4; 0.375,0.465; 0.5,0.5;  0.625,0.535; 0.75,0.6; 0.875,0.7335; 1,1">
                                          <p:stCondLst>
                                            <p:cond delay="1324"/>
                                          </p:stCondLst>
                                        </p:cTn>
                                        <p:tgtEl>
                                          <p:spTgt spid="2">
                                            <p:txEl>
                                              <p:pRg st="11" end="11"/>
                                            </p:txEl>
                                          </p:spTgt>
                                        </p:tgtEl>
                                        <p:attrNameLst>
                                          <p:attrName>ppt_y</p:attrName>
                                        </p:attrNameLst>
                                      </p:cBhvr>
                                      <p:tavLst>
                                        <p:tav tm="0" fmla="#ppt_y-sin(pi*$)/27">
                                          <p:val>
                                            <p:fltVal val="0"/>
                                          </p:val>
                                        </p:tav>
                                        <p:tav tm="100000">
                                          <p:val>
                                            <p:fltVal val="1"/>
                                          </p:val>
                                        </p:tav>
                                      </p:tavLst>
                                    </p:anim>
                                    <p:anim calcmode="lin" valueType="num">
                                      <p:cBhvr>
                                        <p:cTn id="210" dur="164" tmFilter="0, 0; 0.125,0.2665; 0.25,0.4; 0.375,0.465; 0.5,0.5;  0.625,0.535; 0.75,0.6; 0.875,0.7335; 1,1">
                                          <p:stCondLst>
                                            <p:cond delay="1656"/>
                                          </p:stCondLst>
                                        </p:cTn>
                                        <p:tgtEl>
                                          <p:spTgt spid="2">
                                            <p:txEl>
                                              <p:pRg st="11" end="11"/>
                                            </p:txEl>
                                          </p:spTgt>
                                        </p:tgtEl>
                                        <p:attrNameLst>
                                          <p:attrName>ppt_y</p:attrName>
                                        </p:attrNameLst>
                                      </p:cBhvr>
                                      <p:tavLst>
                                        <p:tav tm="0" fmla="#ppt_y-sin(pi*$)/81">
                                          <p:val>
                                            <p:fltVal val="0"/>
                                          </p:val>
                                        </p:tav>
                                        <p:tav tm="100000">
                                          <p:val>
                                            <p:fltVal val="1"/>
                                          </p:val>
                                        </p:tav>
                                      </p:tavLst>
                                    </p:anim>
                                    <p:animScale>
                                      <p:cBhvr>
                                        <p:cTn id="211" dur="26">
                                          <p:stCondLst>
                                            <p:cond delay="650"/>
                                          </p:stCondLst>
                                        </p:cTn>
                                        <p:tgtEl>
                                          <p:spTgt spid="2">
                                            <p:txEl>
                                              <p:pRg st="11" end="11"/>
                                            </p:txEl>
                                          </p:spTgt>
                                        </p:tgtEl>
                                      </p:cBhvr>
                                      <p:to x="100000" y="60000"/>
                                    </p:animScale>
                                    <p:animScale>
                                      <p:cBhvr>
                                        <p:cTn id="212" dur="166" decel="50000">
                                          <p:stCondLst>
                                            <p:cond delay="676"/>
                                          </p:stCondLst>
                                        </p:cTn>
                                        <p:tgtEl>
                                          <p:spTgt spid="2">
                                            <p:txEl>
                                              <p:pRg st="11" end="11"/>
                                            </p:txEl>
                                          </p:spTgt>
                                        </p:tgtEl>
                                      </p:cBhvr>
                                      <p:to x="100000" y="100000"/>
                                    </p:animScale>
                                    <p:animScale>
                                      <p:cBhvr>
                                        <p:cTn id="213" dur="26">
                                          <p:stCondLst>
                                            <p:cond delay="1312"/>
                                          </p:stCondLst>
                                        </p:cTn>
                                        <p:tgtEl>
                                          <p:spTgt spid="2">
                                            <p:txEl>
                                              <p:pRg st="11" end="11"/>
                                            </p:txEl>
                                          </p:spTgt>
                                        </p:tgtEl>
                                      </p:cBhvr>
                                      <p:to x="100000" y="80000"/>
                                    </p:animScale>
                                    <p:animScale>
                                      <p:cBhvr>
                                        <p:cTn id="214" dur="166" decel="50000">
                                          <p:stCondLst>
                                            <p:cond delay="1338"/>
                                          </p:stCondLst>
                                        </p:cTn>
                                        <p:tgtEl>
                                          <p:spTgt spid="2">
                                            <p:txEl>
                                              <p:pRg st="11" end="11"/>
                                            </p:txEl>
                                          </p:spTgt>
                                        </p:tgtEl>
                                      </p:cBhvr>
                                      <p:to x="100000" y="100000"/>
                                    </p:animScale>
                                    <p:animScale>
                                      <p:cBhvr>
                                        <p:cTn id="215" dur="26">
                                          <p:stCondLst>
                                            <p:cond delay="1642"/>
                                          </p:stCondLst>
                                        </p:cTn>
                                        <p:tgtEl>
                                          <p:spTgt spid="2">
                                            <p:txEl>
                                              <p:pRg st="11" end="11"/>
                                            </p:txEl>
                                          </p:spTgt>
                                        </p:tgtEl>
                                      </p:cBhvr>
                                      <p:to x="100000" y="90000"/>
                                    </p:animScale>
                                    <p:animScale>
                                      <p:cBhvr>
                                        <p:cTn id="216" dur="166" decel="50000">
                                          <p:stCondLst>
                                            <p:cond delay="1668"/>
                                          </p:stCondLst>
                                        </p:cTn>
                                        <p:tgtEl>
                                          <p:spTgt spid="2">
                                            <p:txEl>
                                              <p:pRg st="11" end="11"/>
                                            </p:txEl>
                                          </p:spTgt>
                                        </p:tgtEl>
                                      </p:cBhvr>
                                      <p:to x="100000" y="100000"/>
                                    </p:animScale>
                                    <p:animScale>
                                      <p:cBhvr>
                                        <p:cTn id="217" dur="26">
                                          <p:stCondLst>
                                            <p:cond delay="1808"/>
                                          </p:stCondLst>
                                        </p:cTn>
                                        <p:tgtEl>
                                          <p:spTgt spid="2">
                                            <p:txEl>
                                              <p:pRg st="11" end="11"/>
                                            </p:txEl>
                                          </p:spTgt>
                                        </p:tgtEl>
                                      </p:cBhvr>
                                      <p:to x="100000" y="95000"/>
                                    </p:animScale>
                                    <p:animScale>
                                      <p:cBhvr>
                                        <p:cTn id="218" dur="166" decel="50000">
                                          <p:stCondLst>
                                            <p:cond delay="1834"/>
                                          </p:stCondLst>
                                        </p:cTn>
                                        <p:tgtEl>
                                          <p:spTgt spid="2">
                                            <p:txEl>
                                              <p:pRg st="11" end="11"/>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2922104" y="577516"/>
            <a:ext cx="6221896" cy="863657"/>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KHẢO SÁT YÊU CẦU VỀ CHỨC NĂNG</a:t>
            </a:r>
            <a:endParaRPr lang="vi-VN" altLang="vi-VN" sz="2600" b="1">
              <a:solidFill>
                <a:srgbClr val="004195"/>
              </a:solidFill>
              <a:latin typeface="Noto Sans"/>
              <a:ea typeface="Noto Sans"/>
              <a:cs typeface="+mn-ea"/>
              <a:sym typeface="Source Han Serif SC" panose="02020700000000000000" pitchFamily="18" charset="-122"/>
            </a:endParaRPr>
          </a:p>
        </p:txBody>
      </p:sp>
      <p:sp>
        <p:nvSpPr>
          <p:cNvPr id="2" name="Rectangle 3">
            <a:extLst>
              <a:ext uri="{FF2B5EF4-FFF2-40B4-BE49-F238E27FC236}">
                <a16:creationId xmlns:a16="http://schemas.microsoft.com/office/drawing/2014/main" id="{40F55A01-C850-6C75-AF67-8A4126D25231}"/>
              </a:ext>
            </a:extLst>
          </p:cNvPr>
          <p:cNvSpPr txBox="1">
            <a:spLocks noChangeArrowheads="1"/>
          </p:cNvSpPr>
          <p:nvPr/>
        </p:nvSpPr>
        <p:spPr bwMode="auto">
          <a:xfrm>
            <a:off x="761999" y="805069"/>
            <a:ext cx="10886661" cy="5601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indent="-400050">
              <a:spcBef>
                <a:spcPct val="20000"/>
              </a:spcBef>
              <a:buClr>
                <a:schemeClr val="tx2"/>
              </a:buClr>
              <a:buFont typeface="Wingdings" panose="05000000000000000000" pitchFamily="2" charset="2"/>
              <a:buChar char="§"/>
              <a:defRPr sz="2800">
                <a:solidFill>
                  <a:schemeClr val="tx1"/>
                </a:solidFill>
                <a:latin typeface="Arial" panose="020B0604020202020204" pitchFamily="34" charset="0"/>
              </a:defRPr>
            </a:lvl1pPr>
            <a:lvl2pPr marL="342900" indent="-342900">
              <a:spcBef>
                <a:spcPct val="20000"/>
              </a:spcBef>
              <a:buClr>
                <a:schemeClr val="accent1"/>
              </a:buClr>
              <a:buFont typeface="Wingdings" panose="05000000000000000000" pitchFamily="2" charset="2"/>
              <a:buChar char="§"/>
              <a:defRPr sz="2400">
                <a:solidFill>
                  <a:schemeClr val="tx1"/>
                </a:solidFill>
                <a:latin typeface="Arial" panose="020B0604020202020204" pitchFamily="34" charset="0"/>
              </a:defRPr>
            </a:lvl2pPr>
            <a:lvl3pPr marL="1143000" indent="-228600">
              <a:spcBef>
                <a:spcPct val="20000"/>
              </a:spcBef>
              <a:buClr>
                <a:schemeClr val="tx1"/>
              </a:buClr>
              <a:buChar char="•"/>
              <a:defRPr sz="2000">
                <a:solidFill>
                  <a:schemeClr val="tx1"/>
                </a:solidFill>
                <a:latin typeface="Arial" panose="020B0604020202020204" pitchFamily="34" charset="0"/>
              </a:defRPr>
            </a:lvl3pPr>
            <a:lvl4pPr marL="1600200" indent="-228600">
              <a:spcBef>
                <a:spcPct val="20000"/>
              </a:spcBef>
              <a:buChar char="–"/>
              <a:defRPr>
                <a:solidFill>
                  <a:schemeClr val="tx1"/>
                </a:solidFill>
                <a:latin typeface="Arial" panose="020B0604020202020204" pitchFamily="34" charset="0"/>
              </a:defRPr>
            </a:lvl4pPr>
            <a:lvl5pPr marL="2057400" indent="-22860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lvl="1">
              <a:lnSpc>
                <a:spcPct val="150000"/>
              </a:lnSpc>
              <a:buClr>
                <a:schemeClr val="tx2"/>
              </a:buClr>
              <a:buFont typeface="Wingdings" panose="05000000000000000000" pitchFamily="2" charset="2"/>
              <a:buChar char="v"/>
              <a:defRPr/>
            </a:pPr>
            <a:r>
              <a:rPr lang="en-US" sz="1800" b="1">
                <a:latin typeface="Times New Roman" panose="02020603050405020304" pitchFamily="18" charset="0"/>
                <a:cs typeface="Times New Roman" panose="02020603050405020304" pitchFamily="18" charset="0"/>
              </a:rPr>
              <a:t> </a:t>
            </a:r>
            <a:r>
              <a:rPr lang="en-US" sz="2200" b="1" u="sng">
                <a:latin typeface="Times New Roman" panose="02020603050405020304" pitchFamily="18" charset="0"/>
                <a:cs typeface="Times New Roman" panose="02020603050405020304" pitchFamily="18" charset="0"/>
              </a:rPr>
              <a:t>Sơ đồ Use – Case tổng</a:t>
            </a:r>
          </a:p>
        </p:txBody>
      </p:sp>
      <p:pic>
        <p:nvPicPr>
          <p:cNvPr id="3" name="Picture 4">
            <a:extLst>
              <a:ext uri="{FF2B5EF4-FFF2-40B4-BE49-F238E27FC236}">
                <a16:creationId xmlns:a16="http://schemas.microsoft.com/office/drawing/2014/main" id="{858A5D4C-E874-D644-838E-BF029ABA15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3329" y="1325107"/>
            <a:ext cx="9144000" cy="5081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071445090"/>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80">
                                          <p:stCondLst>
                                            <p:cond delay="0"/>
                                          </p:stCondLst>
                                        </p:cTn>
                                        <p:tgtEl>
                                          <p:spTgt spid="2">
                                            <p:txEl>
                                              <p:pRg st="0" end="0"/>
                                            </p:txEl>
                                          </p:spTgt>
                                        </p:tgtEl>
                                      </p:cBhvr>
                                    </p:animEffect>
                                    <p:anim calcmode="lin" valueType="num">
                                      <p:cBhvr>
                                        <p:cTn id="8" dur="1822" tmFilter="0,0; 0.14,0.36; 0.43,0.73; 0.71,0.91; 1.0,1.0">
                                          <p:stCondLst>
                                            <p:cond delay="0"/>
                                          </p:stCondLst>
                                        </p:cTn>
                                        <p:tgtEl>
                                          <p:spTgt spid="2">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xEl>
                                              <p:pRg st="0" end="0"/>
                                            </p:txEl>
                                          </p:spTgt>
                                        </p:tgtEl>
                                      </p:cBhvr>
                                      <p:to x="100000" y="60000"/>
                                    </p:animScale>
                                    <p:animScale>
                                      <p:cBhvr>
                                        <p:cTn id="14" dur="166" decel="50000">
                                          <p:stCondLst>
                                            <p:cond delay="676"/>
                                          </p:stCondLst>
                                        </p:cTn>
                                        <p:tgtEl>
                                          <p:spTgt spid="2">
                                            <p:txEl>
                                              <p:pRg st="0" end="0"/>
                                            </p:txEl>
                                          </p:spTgt>
                                        </p:tgtEl>
                                      </p:cBhvr>
                                      <p:to x="100000" y="100000"/>
                                    </p:animScale>
                                    <p:animScale>
                                      <p:cBhvr>
                                        <p:cTn id="15" dur="26">
                                          <p:stCondLst>
                                            <p:cond delay="1312"/>
                                          </p:stCondLst>
                                        </p:cTn>
                                        <p:tgtEl>
                                          <p:spTgt spid="2">
                                            <p:txEl>
                                              <p:pRg st="0" end="0"/>
                                            </p:txEl>
                                          </p:spTgt>
                                        </p:tgtEl>
                                      </p:cBhvr>
                                      <p:to x="100000" y="80000"/>
                                    </p:animScale>
                                    <p:animScale>
                                      <p:cBhvr>
                                        <p:cTn id="16" dur="166" decel="50000">
                                          <p:stCondLst>
                                            <p:cond delay="1338"/>
                                          </p:stCondLst>
                                        </p:cTn>
                                        <p:tgtEl>
                                          <p:spTgt spid="2">
                                            <p:txEl>
                                              <p:pRg st="0" end="0"/>
                                            </p:txEl>
                                          </p:spTgt>
                                        </p:tgtEl>
                                      </p:cBhvr>
                                      <p:to x="100000" y="100000"/>
                                    </p:animScale>
                                    <p:animScale>
                                      <p:cBhvr>
                                        <p:cTn id="17" dur="26">
                                          <p:stCondLst>
                                            <p:cond delay="1642"/>
                                          </p:stCondLst>
                                        </p:cTn>
                                        <p:tgtEl>
                                          <p:spTgt spid="2">
                                            <p:txEl>
                                              <p:pRg st="0" end="0"/>
                                            </p:txEl>
                                          </p:spTgt>
                                        </p:tgtEl>
                                      </p:cBhvr>
                                      <p:to x="100000" y="90000"/>
                                    </p:animScale>
                                    <p:animScale>
                                      <p:cBhvr>
                                        <p:cTn id="18" dur="166" decel="50000">
                                          <p:stCondLst>
                                            <p:cond delay="1668"/>
                                          </p:stCondLst>
                                        </p:cTn>
                                        <p:tgtEl>
                                          <p:spTgt spid="2">
                                            <p:txEl>
                                              <p:pRg st="0" end="0"/>
                                            </p:txEl>
                                          </p:spTgt>
                                        </p:tgtEl>
                                      </p:cBhvr>
                                      <p:to x="100000" y="100000"/>
                                    </p:animScale>
                                    <p:animScale>
                                      <p:cBhvr>
                                        <p:cTn id="19" dur="26">
                                          <p:stCondLst>
                                            <p:cond delay="1808"/>
                                          </p:stCondLst>
                                        </p:cTn>
                                        <p:tgtEl>
                                          <p:spTgt spid="2">
                                            <p:txEl>
                                              <p:pRg st="0" end="0"/>
                                            </p:txEl>
                                          </p:spTgt>
                                        </p:tgtEl>
                                      </p:cBhvr>
                                      <p:to x="100000" y="95000"/>
                                    </p:animScale>
                                    <p:animScale>
                                      <p:cBhvr>
                                        <p:cTn id="20" dur="166" decel="50000">
                                          <p:stCondLst>
                                            <p:cond delay="1834"/>
                                          </p:stCondLst>
                                        </p:cTn>
                                        <p:tgtEl>
                                          <p:spTgt spid="2">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2922104" y="577516"/>
            <a:ext cx="6221896" cy="863657"/>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KHẢO SÁT YÊU CẦU VỀ CHỨC NĂNG</a:t>
            </a:r>
            <a:endParaRPr lang="vi-VN" altLang="vi-VN" sz="2600" b="1">
              <a:solidFill>
                <a:srgbClr val="004195"/>
              </a:solidFill>
              <a:latin typeface="Noto Sans"/>
              <a:ea typeface="Noto Sans"/>
              <a:cs typeface="+mn-ea"/>
              <a:sym typeface="Source Han Serif SC" panose="02020700000000000000" pitchFamily="18" charset="-122"/>
            </a:endParaRPr>
          </a:p>
        </p:txBody>
      </p:sp>
      <p:sp>
        <p:nvSpPr>
          <p:cNvPr id="2" name="Rectangle 3">
            <a:extLst>
              <a:ext uri="{FF2B5EF4-FFF2-40B4-BE49-F238E27FC236}">
                <a16:creationId xmlns:a16="http://schemas.microsoft.com/office/drawing/2014/main" id="{40F55A01-C850-6C75-AF67-8A4126D25231}"/>
              </a:ext>
            </a:extLst>
          </p:cNvPr>
          <p:cNvSpPr txBox="1">
            <a:spLocks noChangeArrowheads="1"/>
          </p:cNvSpPr>
          <p:nvPr/>
        </p:nvSpPr>
        <p:spPr bwMode="auto">
          <a:xfrm>
            <a:off x="761999" y="805069"/>
            <a:ext cx="10886661" cy="5601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indent="-400050">
              <a:spcBef>
                <a:spcPct val="20000"/>
              </a:spcBef>
              <a:buClr>
                <a:schemeClr val="tx2"/>
              </a:buClr>
              <a:buFont typeface="Wingdings" panose="05000000000000000000" pitchFamily="2" charset="2"/>
              <a:buChar char="§"/>
              <a:defRPr sz="2800">
                <a:solidFill>
                  <a:schemeClr val="tx1"/>
                </a:solidFill>
                <a:latin typeface="Arial" panose="020B0604020202020204" pitchFamily="34" charset="0"/>
              </a:defRPr>
            </a:lvl1pPr>
            <a:lvl2pPr marL="342900" indent="-342900">
              <a:spcBef>
                <a:spcPct val="20000"/>
              </a:spcBef>
              <a:buClr>
                <a:schemeClr val="accent1"/>
              </a:buClr>
              <a:buFont typeface="Wingdings" panose="05000000000000000000" pitchFamily="2" charset="2"/>
              <a:buChar char="§"/>
              <a:defRPr sz="2400">
                <a:solidFill>
                  <a:schemeClr val="tx1"/>
                </a:solidFill>
                <a:latin typeface="Arial" panose="020B0604020202020204" pitchFamily="34" charset="0"/>
              </a:defRPr>
            </a:lvl2pPr>
            <a:lvl3pPr marL="1143000" indent="-228600">
              <a:spcBef>
                <a:spcPct val="20000"/>
              </a:spcBef>
              <a:buClr>
                <a:schemeClr val="tx1"/>
              </a:buClr>
              <a:buChar char="•"/>
              <a:defRPr sz="2000">
                <a:solidFill>
                  <a:schemeClr val="tx1"/>
                </a:solidFill>
                <a:latin typeface="Arial" panose="020B0604020202020204" pitchFamily="34" charset="0"/>
              </a:defRPr>
            </a:lvl3pPr>
            <a:lvl4pPr marL="1600200" indent="-228600">
              <a:spcBef>
                <a:spcPct val="20000"/>
              </a:spcBef>
              <a:buChar char="–"/>
              <a:defRPr>
                <a:solidFill>
                  <a:schemeClr val="tx1"/>
                </a:solidFill>
                <a:latin typeface="Arial" panose="020B0604020202020204" pitchFamily="34" charset="0"/>
              </a:defRPr>
            </a:lvl4pPr>
            <a:lvl5pPr marL="2057400" indent="-22860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lvl="1">
              <a:lnSpc>
                <a:spcPct val="150000"/>
              </a:lnSpc>
              <a:buClr>
                <a:schemeClr val="tx2"/>
              </a:buClr>
              <a:buFont typeface="Wingdings" panose="05000000000000000000" pitchFamily="2" charset="2"/>
              <a:buChar char="v"/>
              <a:defRPr/>
            </a:pPr>
            <a:r>
              <a:rPr lang="en-US" sz="1800" b="1">
                <a:latin typeface="Times New Roman" panose="02020603050405020304" pitchFamily="18" charset="0"/>
                <a:cs typeface="Times New Roman" panose="02020603050405020304" pitchFamily="18" charset="0"/>
              </a:rPr>
              <a:t> </a:t>
            </a:r>
            <a:r>
              <a:rPr lang="en-US" sz="2200" b="1" u="sng">
                <a:latin typeface="Times New Roman" panose="02020603050405020304" pitchFamily="18" charset="0"/>
                <a:cs typeface="Times New Roman" panose="02020603050405020304" pitchFamily="18" charset="0"/>
              </a:rPr>
              <a:t>Sơ đồ lớp</a:t>
            </a:r>
          </a:p>
        </p:txBody>
      </p:sp>
      <p:pic>
        <p:nvPicPr>
          <p:cNvPr id="4" name="Picture 4">
            <a:extLst>
              <a:ext uri="{FF2B5EF4-FFF2-40B4-BE49-F238E27FC236}">
                <a16:creationId xmlns:a16="http://schemas.microsoft.com/office/drawing/2014/main" id="{F0752D54-C997-3243-3FB3-4EE42DF14A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18252" y="1333405"/>
            <a:ext cx="9144000" cy="5073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343813670"/>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80">
                                          <p:stCondLst>
                                            <p:cond delay="0"/>
                                          </p:stCondLst>
                                        </p:cTn>
                                        <p:tgtEl>
                                          <p:spTgt spid="2">
                                            <p:txEl>
                                              <p:pRg st="0" end="0"/>
                                            </p:txEl>
                                          </p:spTgt>
                                        </p:tgtEl>
                                      </p:cBhvr>
                                    </p:animEffect>
                                    <p:anim calcmode="lin" valueType="num">
                                      <p:cBhvr>
                                        <p:cTn id="8" dur="1822" tmFilter="0,0; 0.14,0.36; 0.43,0.73; 0.71,0.91; 1.0,1.0">
                                          <p:stCondLst>
                                            <p:cond delay="0"/>
                                          </p:stCondLst>
                                        </p:cTn>
                                        <p:tgtEl>
                                          <p:spTgt spid="2">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xEl>
                                              <p:pRg st="0" end="0"/>
                                            </p:txEl>
                                          </p:spTgt>
                                        </p:tgtEl>
                                      </p:cBhvr>
                                      <p:to x="100000" y="60000"/>
                                    </p:animScale>
                                    <p:animScale>
                                      <p:cBhvr>
                                        <p:cTn id="14" dur="166" decel="50000">
                                          <p:stCondLst>
                                            <p:cond delay="676"/>
                                          </p:stCondLst>
                                        </p:cTn>
                                        <p:tgtEl>
                                          <p:spTgt spid="2">
                                            <p:txEl>
                                              <p:pRg st="0" end="0"/>
                                            </p:txEl>
                                          </p:spTgt>
                                        </p:tgtEl>
                                      </p:cBhvr>
                                      <p:to x="100000" y="100000"/>
                                    </p:animScale>
                                    <p:animScale>
                                      <p:cBhvr>
                                        <p:cTn id="15" dur="26">
                                          <p:stCondLst>
                                            <p:cond delay="1312"/>
                                          </p:stCondLst>
                                        </p:cTn>
                                        <p:tgtEl>
                                          <p:spTgt spid="2">
                                            <p:txEl>
                                              <p:pRg st="0" end="0"/>
                                            </p:txEl>
                                          </p:spTgt>
                                        </p:tgtEl>
                                      </p:cBhvr>
                                      <p:to x="100000" y="80000"/>
                                    </p:animScale>
                                    <p:animScale>
                                      <p:cBhvr>
                                        <p:cTn id="16" dur="166" decel="50000">
                                          <p:stCondLst>
                                            <p:cond delay="1338"/>
                                          </p:stCondLst>
                                        </p:cTn>
                                        <p:tgtEl>
                                          <p:spTgt spid="2">
                                            <p:txEl>
                                              <p:pRg st="0" end="0"/>
                                            </p:txEl>
                                          </p:spTgt>
                                        </p:tgtEl>
                                      </p:cBhvr>
                                      <p:to x="100000" y="100000"/>
                                    </p:animScale>
                                    <p:animScale>
                                      <p:cBhvr>
                                        <p:cTn id="17" dur="26">
                                          <p:stCondLst>
                                            <p:cond delay="1642"/>
                                          </p:stCondLst>
                                        </p:cTn>
                                        <p:tgtEl>
                                          <p:spTgt spid="2">
                                            <p:txEl>
                                              <p:pRg st="0" end="0"/>
                                            </p:txEl>
                                          </p:spTgt>
                                        </p:tgtEl>
                                      </p:cBhvr>
                                      <p:to x="100000" y="90000"/>
                                    </p:animScale>
                                    <p:animScale>
                                      <p:cBhvr>
                                        <p:cTn id="18" dur="166" decel="50000">
                                          <p:stCondLst>
                                            <p:cond delay="1668"/>
                                          </p:stCondLst>
                                        </p:cTn>
                                        <p:tgtEl>
                                          <p:spTgt spid="2">
                                            <p:txEl>
                                              <p:pRg st="0" end="0"/>
                                            </p:txEl>
                                          </p:spTgt>
                                        </p:tgtEl>
                                      </p:cBhvr>
                                      <p:to x="100000" y="100000"/>
                                    </p:animScale>
                                    <p:animScale>
                                      <p:cBhvr>
                                        <p:cTn id="19" dur="26">
                                          <p:stCondLst>
                                            <p:cond delay="1808"/>
                                          </p:stCondLst>
                                        </p:cTn>
                                        <p:tgtEl>
                                          <p:spTgt spid="2">
                                            <p:txEl>
                                              <p:pRg st="0" end="0"/>
                                            </p:txEl>
                                          </p:spTgt>
                                        </p:tgtEl>
                                      </p:cBhvr>
                                      <p:to x="100000" y="95000"/>
                                    </p:animScale>
                                    <p:animScale>
                                      <p:cBhvr>
                                        <p:cTn id="20" dur="166" decel="50000">
                                          <p:stCondLst>
                                            <p:cond delay="1834"/>
                                          </p:stCondLst>
                                        </p:cTn>
                                        <p:tgtEl>
                                          <p:spTgt spid="2">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椭圆 5">
            <a:extLst>
              <a:ext uri="{FF2B5EF4-FFF2-40B4-BE49-F238E27FC236}">
                <a16:creationId xmlns:a16="http://schemas.microsoft.com/office/drawing/2014/main" id="{6C5E6270-26FB-47E2-9114-EB81508C45AE}"/>
              </a:ext>
            </a:extLst>
          </p:cNvPr>
          <p:cNvSpPr/>
          <p:nvPr/>
        </p:nvSpPr>
        <p:spPr>
          <a:xfrm>
            <a:off x="3243737" y="569502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椭圆 6">
            <a:extLst>
              <a:ext uri="{FF2B5EF4-FFF2-40B4-BE49-F238E27FC236}">
                <a16:creationId xmlns:a16="http://schemas.microsoft.com/office/drawing/2014/main" id="{60A3DE71-09BB-4D17-B554-59A65FBECDEC}"/>
              </a:ext>
            </a:extLst>
          </p:cNvPr>
          <p:cNvSpPr/>
          <p:nvPr/>
        </p:nvSpPr>
        <p:spPr>
          <a:xfrm>
            <a:off x="566544" y="180845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 name="椭圆 7">
            <a:extLst>
              <a:ext uri="{FF2B5EF4-FFF2-40B4-BE49-F238E27FC236}">
                <a16:creationId xmlns:a16="http://schemas.microsoft.com/office/drawing/2014/main" id="{42BB076E-19ED-4A80-A65B-7DC8105846BD}"/>
              </a:ext>
            </a:extLst>
          </p:cNvPr>
          <p:cNvSpPr/>
          <p:nvPr/>
        </p:nvSpPr>
        <p:spPr>
          <a:xfrm>
            <a:off x="10099832" y="4661880"/>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9" name="椭圆 8">
            <a:extLst>
              <a:ext uri="{FF2B5EF4-FFF2-40B4-BE49-F238E27FC236}">
                <a16:creationId xmlns:a16="http://schemas.microsoft.com/office/drawing/2014/main" id="{4301B9C5-B076-4F9C-A26E-A66B97A133F6}"/>
              </a:ext>
            </a:extLst>
          </p:cNvPr>
          <p:cNvSpPr/>
          <p:nvPr/>
        </p:nvSpPr>
        <p:spPr>
          <a:xfrm>
            <a:off x="8865359" y="43050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0" name="文本框 19"/>
          <p:cNvSpPr txBox="1"/>
          <p:nvPr/>
        </p:nvSpPr>
        <p:spPr>
          <a:xfrm>
            <a:off x="1114290" y="2771342"/>
            <a:ext cx="10405163" cy="1540103"/>
          </a:xfrm>
          <a:prstGeom prst="rect">
            <a:avLst/>
          </a:prstGeom>
          <a:noFill/>
        </p:spPr>
        <p:txBody>
          <a:bodyPr wrap="square" rtlCol="0">
            <a:noAutofit/>
          </a:bodyPr>
          <a:lstStyle/>
          <a:p>
            <a:pPr algn="ctr"/>
            <a:r>
              <a:rPr lang="en-US" altLang="vi-VN" sz="4000" b="1">
                <a:solidFill>
                  <a:schemeClr val="bg1"/>
                </a:solidFill>
                <a:latin typeface="Times New Roman" panose="02020603050405020304" pitchFamily="18" charset="0"/>
                <a:ea typeface="Noto Sans"/>
                <a:cs typeface="Times New Roman" panose="02020603050405020304" pitchFamily="18" charset="0"/>
                <a:sym typeface="Source Han Serif SC" panose="02020700000000000000" pitchFamily="18" charset="-122"/>
              </a:rPr>
              <a:t>Xây dựng chương trình</a:t>
            </a:r>
            <a:endParaRPr lang="vi-VN" altLang="vi-VN" sz="2800" b="1">
              <a:solidFill>
                <a:schemeClr val="bg1"/>
              </a:solidFill>
              <a:latin typeface="Times New Roman" panose="02020603050405020304" pitchFamily="18" charset="0"/>
              <a:ea typeface="Noto Sans"/>
              <a:cs typeface="Times New Roman" panose="02020603050405020304" pitchFamily="18" charset="0"/>
              <a:sym typeface="Source Han Serif SC" panose="02020700000000000000" pitchFamily="18" charset="-122"/>
            </a:endParaRPr>
          </a:p>
        </p:txBody>
      </p:sp>
      <p:sp>
        <p:nvSpPr>
          <p:cNvPr id="43" name="文本框 42"/>
          <p:cNvSpPr txBox="1"/>
          <p:nvPr/>
        </p:nvSpPr>
        <p:spPr>
          <a:xfrm>
            <a:off x="3100669" y="1701109"/>
            <a:ext cx="6093228" cy="701040"/>
          </a:xfrm>
          <a:prstGeom prst="rect">
            <a:avLst/>
          </a:prstGeom>
          <a:noFill/>
        </p:spPr>
        <p:txBody>
          <a:bodyPr wrap="square">
            <a:normAutofit/>
          </a:bodyPr>
          <a:lstStyle/>
          <a:p>
            <a:pPr algn="ctr"/>
            <a:r>
              <a:rPr lang="vi-VN" altLang="vi-VN" sz="4000" b="1">
                <a:solidFill>
                  <a:schemeClr val="bg1"/>
                </a:solidFill>
                <a:latin typeface="Noto Sans"/>
                <a:ea typeface="Noto Sans"/>
                <a:cs typeface="+mn-ea"/>
                <a:sym typeface="Source Han Serif SC" panose="02020700000000000000" pitchFamily="18" charset="-122"/>
              </a:rPr>
              <a:t>PHẦN 01</a:t>
            </a:r>
          </a:p>
        </p:txBody>
      </p:sp>
    </p:spTree>
    <p:extLst>
      <p:ext uri="{BB962C8B-B14F-4D97-AF65-F5344CB8AC3E}">
        <p14:creationId xmlns:p14="http://schemas.microsoft.com/office/powerpoint/2010/main" val="3207316331"/>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2922104" y="577516"/>
            <a:ext cx="6221896" cy="863657"/>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KHẢO SÁT YÊU CẦU VỀ CHỨC NĂNG</a:t>
            </a:r>
            <a:endParaRPr lang="vi-VN" altLang="vi-VN" sz="2600" b="1">
              <a:solidFill>
                <a:srgbClr val="004195"/>
              </a:solidFill>
              <a:latin typeface="Noto Sans"/>
              <a:ea typeface="Noto Sans"/>
              <a:cs typeface="+mn-ea"/>
              <a:sym typeface="Source Han Serif SC" panose="02020700000000000000" pitchFamily="18" charset="-122"/>
            </a:endParaRPr>
          </a:p>
        </p:txBody>
      </p:sp>
      <p:sp>
        <p:nvSpPr>
          <p:cNvPr id="2" name="Rectangle 3">
            <a:extLst>
              <a:ext uri="{FF2B5EF4-FFF2-40B4-BE49-F238E27FC236}">
                <a16:creationId xmlns:a16="http://schemas.microsoft.com/office/drawing/2014/main" id="{40F55A01-C850-6C75-AF67-8A4126D25231}"/>
              </a:ext>
            </a:extLst>
          </p:cNvPr>
          <p:cNvSpPr txBox="1">
            <a:spLocks noChangeArrowheads="1"/>
          </p:cNvSpPr>
          <p:nvPr/>
        </p:nvSpPr>
        <p:spPr bwMode="auto">
          <a:xfrm>
            <a:off x="761999" y="805069"/>
            <a:ext cx="10886661" cy="5601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indent="-400050">
              <a:spcBef>
                <a:spcPct val="20000"/>
              </a:spcBef>
              <a:buClr>
                <a:schemeClr val="tx2"/>
              </a:buClr>
              <a:buFont typeface="Wingdings" panose="05000000000000000000" pitchFamily="2" charset="2"/>
              <a:buChar char="§"/>
              <a:defRPr sz="2800">
                <a:solidFill>
                  <a:schemeClr val="tx1"/>
                </a:solidFill>
                <a:latin typeface="Arial" panose="020B0604020202020204" pitchFamily="34" charset="0"/>
              </a:defRPr>
            </a:lvl1pPr>
            <a:lvl2pPr marL="342900" indent="-342900">
              <a:spcBef>
                <a:spcPct val="20000"/>
              </a:spcBef>
              <a:buClr>
                <a:schemeClr val="accent1"/>
              </a:buClr>
              <a:buFont typeface="Wingdings" panose="05000000000000000000" pitchFamily="2" charset="2"/>
              <a:buChar char="§"/>
              <a:defRPr sz="2400">
                <a:solidFill>
                  <a:schemeClr val="tx1"/>
                </a:solidFill>
                <a:latin typeface="Arial" panose="020B0604020202020204" pitchFamily="34" charset="0"/>
              </a:defRPr>
            </a:lvl2pPr>
            <a:lvl3pPr marL="1143000" indent="-228600">
              <a:spcBef>
                <a:spcPct val="20000"/>
              </a:spcBef>
              <a:buClr>
                <a:schemeClr val="tx1"/>
              </a:buClr>
              <a:buChar char="•"/>
              <a:defRPr sz="2000">
                <a:solidFill>
                  <a:schemeClr val="tx1"/>
                </a:solidFill>
                <a:latin typeface="Arial" panose="020B0604020202020204" pitchFamily="34" charset="0"/>
              </a:defRPr>
            </a:lvl3pPr>
            <a:lvl4pPr marL="1600200" indent="-228600">
              <a:spcBef>
                <a:spcPct val="20000"/>
              </a:spcBef>
              <a:buChar char="–"/>
              <a:defRPr>
                <a:solidFill>
                  <a:schemeClr val="tx1"/>
                </a:solidFill>
                <a:latin typeface="Arial" panose="020B0604020202020204" pitchFamily="34" charset="0"/>
              </a:defRPr>
            </a:lvl4pPr>
            <a:lvl5pPr marL="2057400" indent="-22860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lvl="1">
              <a:lnSpc>
                <a:spcPct val="150000"/>
              </a:lnSpc>
              <a:buClr>
                <a:schemeClr val="tx2"/>
              </a:buClr>
              <a:buFont typeface="Wingdings" panose="05000000000000000000" pitchFamily="2" charset="2"/>
              <a:buChar char="v"/>
              <a:defRPr/>
            </a:pPr>
            <a:r>
              <a:rPr lang="en-US" sz="1800" b="1">
                <a:latin typeface="Times New Roman" panose="02020603050405020304" pitchFamily="18" charset="0"/>
                <a:cs typeface="Times New Roman" panose="02020603050405020304" pitchFamily="18" charset="0"/>
              </a:rPr>
              <a:t> </a:t>
            </a:r>
            <a:r>
              <a:rPr lang="en-US" sz="2200" b="1" u="sng">
                <a:latin typeface="Times New Roman" panose="02020603050405020304" pitchFamily="18" charset="0"/>
                <a:cs typeface="Times New Roman" panose="02020603050405020304" pitchFamily="18" charset="0"/>
              </a:rPr>
              <a:t>Giao diện trang chủ</a:t>
            </a:r>
          </a:p>
        </p:txBody>
      </p:sp>
      <p:pic>
        <p:nvPicPr>
          <p:cNvPr id="5" name="Picture 4">
            <a:extLst>
              <a:ext uri="{FF2B5EF4-FFF2-40B4-BE49-F238E27FC236}">
                <a16:creationId xmlns:a16="http://schemas.microsoft.com/office/drawing/2014/main" id="{9CAA6020-A01D-2691-E042-9DA928B20F44}"/>
              </a:ext>
            </a:extLst>
          </p:cNvPr>
          <p:cNvPicPr>
            <a:picLocks noChangeAspect="1"/>
          </p:cNvPicPr>
          <p:nvPr/>
        </p:nvPicPr>
        <p:blipFill>
          <a:blip r:embed="rId4"/>
          <a:stretch>
            <a:fillRect/>
          </a:stretch>
        </p:blipFill>
        <p:spPr>
          <a:xfrm>
            <a:off x="2624271" y="1339723"/>
            <a:ext cx="6519729" cy="5066791"/>
          </a:xfrm>
          <a:prstGeom prst="rect">
            <a:avLst/>
          </a:prstGeom>
        </p:spPr>
      </p:pic>
    </p:spTree>
    <p:custDataLst>
      <p:tags r:id="rId1"/>
    </p:custDataLst>
    <p:extLst>
      <p:ext uri="{BB962C8B-B14F-4D97-AF65-F5344CB8AC3E}">
        <p14:creationId xmlns:p14="http://schemas.microsoft.com/office/powerpoint/2010/main" val="2332349655"/>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80">
                                          <p:stCondLst>
                                            <p:cond delay="0"/>
                                          </p:stCondLst>
                                        </p:cTn>
                                        <p:tgtEl>
                                          <p:spTgt spid="2">
                                            <p:txEl>
                                              <p:pRg st="0" end="0"/>
                                            </p:txEl>
                                          </p:spTgt>
                                        </p:tgtEl>
                                      </p:cBhvr>
                                    </p:animEffect>
                                    <p:anim calcmode="lin" valueType="num">
                                      <p:cBhvr>
                                        <p:cTn id="8" dur="1822" tmFilter="0,0; 0.14,0.36; 0.43,0.73; 0.71,0.91; 1.0,1.0">
                                          <p:stCondLst>
                                            <p:cond delay="0"/>
                                          </p:stCondLst>
                                        </p:cTn>
                                        <p:tgtEl>
                                          <p:spTgt spid="2">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xEl>
                                              <p:pRg st="0" end="0"/>
                                            </p:txEl>
                                          </p:spTgt>
                                        </p:tgtEl>
                                      </p:cBhvr>
                                      <p:to x="100000" y="60000"/>
                                    </p:animScale>
                                    <p:animScale>
                                      <p:cBhvr>
                                        <p:cTn id="14" dur="166" decel="50000">
                                          <p:stCondLst>
                                            <p:cond delay="676"/>
                                          </p:stCondLst>
                                        </p:cTn>
                                        <p:tgtEl>
                                          <p:spTgt spid="2">
                                            <p:txEl>
                                              <p:pRg st="0" end="0"/>
                                            </p:txEl>
                                          </p:spTgt>
                                        </p:tgtEl>
                                      </p:cBhvr>
                                      <p:to x="100000" y="100000"/>
                                    </p:animScale>
                                    <p:animScale>
                                      <p:cBhvr>
                                        <p:cTn id="15" dur="26">
                                          <p:stCondLst>
                                            <p:cond delay="1312"/>
                                          </p:stCondLst>
                                        </p:cTn>
                                        <p:tgtEl>
                                          <p:spTgt spid="2">
                                            <p:txEl>
                                              <p:pRg st="0" end="0"/>
                                            </p:txEl>
                                          </p:spTgt>
                                        </p:tgtEl>
                                      </p:cBhvr>
                                      <p:to x="100000" y="80000"/>
                                    </p:animScale>
                                    <p:animScale>
                                      <p:cBhvr>
                                        <p:cTn id="16" dur="166" decel="50000">
                                          <p:stCondLst>
                                            <p:cond delay="1338"/>
                                          </p:stCondLst>
                                        </p:cTn>
                                        <p:tgtEl>
                                          <p:spTgt spid="2">
                                            <p:txEl>
                                              <p:pRg st="0" end="0"/>
                                            </p:txEl>
                                          </p:spTgt>
                                        </p:tgtEl>
                                      </p:cBhvr>
                                      <p:to x="100000" y="100000"/>
                                    </p:animScale>
                                    <p:animScale>
                                      <p:cBhvr>
                                        <p:cTn id="17" dur="26">
                                          <p:stCondLst>
                                            <p:cond delay="1642"/>
                                          </p:stCondLst>
                                        </p:cTn>
                                        <p:tgtEl>
                                          <p:spTgt spid="2">
                                            <p:txEl>
                                              <p:pRg st="0" end="0"/>
                                            </p:txEl>
                                          </p:spTgt>
                                        </p:tgtEl>
                                      </p:cBhvr>
                                      <p:to x="100000" y="90000"/>
                                    </p:animScale>
                                    <p:animScale>
                                      <p:cBhvr>
                                        <p:cTn id="18" dur="166" decel="50000">
                                          <p:stCondLst>
                                            <p:cond delay="1668"/>
                                          </p:stCondLst>
                                        </p:cTn>
                                        <p:tgtEl>
                                          <p:spTgt spid="2">
                                            <p:txEl>
                                              <p:pRg st="0" end="0"/>
                                            </p:txEl>
                                          </p:spTgt>
                                        </p:tgtEl>
                                      </p:cBhvr>
                                      <p:to x="100000" y="100000"/>
                                    </p:animScale>
                                    <p:animScale>
                                      <p:cBhvr>
                                        <p:cTn id="19" dur="26">
                                          <p:stCondLst>
                                            <p:cond delay="1808"/>
                                          </p:stCondLst>
                                        </p:cTn>
                                        <p:tgtEl>
                                          <p:spTgt spid="2">
                                            <p:txEl>
                                              <p:pRg st="0" end="0"/>
                                            </p:txEl>
                                          </p:spTgt>
                                        </p:tgtEl>
                                      </p:cBhvr>
                                      <p:to x="100000" y="95000"/>
                                    </p:animScale>
                                    <p:animScale>
                                      <p:cBhvr>
                                        <p:cTn id="20" dur="166" decel="50000">
                                          <p:stCondLst>
                                            <p:cond delay="1834"/>
                                          </p:stCondLst>
                                        </p:cTn>
                                        <p:tgtEl>
                                          <p:spTgt spid="2">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061253" y="423545"/>
            <a:ext cx="6321286" cy="777240"/>
          </a:xfrm>
          <a:prstGeom prst="rect">
            <a:avLst/>
          </a:prstGeom>
        </p:spPr>
        <p:txBody>
          <a:bodyPr wrap="square">
            <a:normAutofit/>
          </a:bodyPr>
          <a:lstStyle/>
          <a:p>
            <a:pPr marL="0" lvl="1" algn="ctr"/>
            <a:r>
              <a:rPr lang="en-US" altLang="vi-VN" sz="4500" b="1">
                <a:solidFill>
                  <a:schemeClr val="bg1"/>
                </a:solidFill>
                <a:latin typeface="Noto Sans"/>
                <a:ea typeface="Noto Sans"/>
                <a:cs typeface="+mn-ea"/>
                <a:sym typeface="Source Han Serif SC" panose="02020700000000000000" pitchFamily="18" charset="-122"/>
              </a:rPr>
              <a:t>NỘI DUNG BÁO CÁO</a:t>
            </a:r>
            <a:endParaRPr lang="vi-VN" altLang="vi-VN" sz="4500" b="1">
              <a:solidFill>
                <a:schemeClr val="bg1"/>
              </a:solidFill>
              <a:latin typeface="Noto Sans"/>
              <a:ea typeface="Noto Sans"/>
              <a:cs typeface="+mn-ea"/>
              <a:sym typeface="Source Han Serif SC" panose="02020700000000000000" pitchFamily="18" charset="-122"/>
            </a:endParaRPr>
          </a:p>
        </p:txBody>
      </p:sp>
      <p:grpSp>
        <p:nvGrpSpPr>
          <p:cNvPr id="14" name="组合 13"/>
          <p:cNvGrpSpPr/>
          <p:nvPr/>
        </p:nvGrpSpPr>
        <p:grpSpPr>
          <a:xfrm>
            <a:off x="806332" y="1437114"/>
            <a:ext cx="10434823" cy="698828"/>
            <a:chOff x="4515412" y="-127280"/>
            <a:chExt cx="10711205" cy="698828"/>
          </a:xfrm>
        </p:grpSpPr>
        <p:sp>
          <p:nvSpPr>
            <p:cNvPr id="11" name="椭圆 10"/>
            <p:cNvSpPr/>
            <p:nvPr/>
          </p:nvSpPr>
          <p:spPr>
            <a:xfrm>
              <a:off x="4515412" y="-127280"/>
              <a:ext cx="698828" cy="6988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r>
                <a:rPr lang="vi-VN" altLang="vi-VN" sz="2000">
                  <a:solidFill>
                    <a:srgbClr val="174C81"/>
                  </a:solidFill>
                  <a:latin typeface="Noto Sans"/>
                  <a:ea typeface="Noto Sans"/>
                  <a:cs typeface="+mn-ea"/>
                  <a:sym typeface="Source Han Serif SC" panose="02020700000000000000" pitchFamily="18" charset="-122"/>
                </a:rPr>
                <a:t>01</a:t>
              </a:r>
              <a:endParaRPr lang="zh-CN" altLang="en-US" sz="2000">
                <a:solidFill>
                  <a:srgbClr val="174C8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2" name="文本框 11"/>
            <p:cNvSpPr txBox="1"/>
            <p:nvPr/>
          </p:nvSpPr>
          <p:spPr>
            <a:xfrm>
              <a:off x="5446657" y="-72736"/>
              <a:ext cx="9779960" cy="589739"/>
            </a:xfrm>
            <a:prstGeom prst="rect">
              <a:avLst/>
            </a:prstGeom>
            <a:noFill/>
          </p:spPr>
          <p:txBody>
            <a:bodyPr wrap="none" rtlCol="0">
              <a:normAutofit/>
            </a:bodyPr>
            <a:lstStyle/>
            <a:p>
              <a:pPr>
                <a:spcBef>
                  <a:spcPct val="0"/>
                </a:spcBef>
                <a:buClrTx/>
                <a:buFontTx/>
                <a:buNone/>
              </a:pPr>
              <a:r>
                <a:rPr lang="en-US" altLang="en-US" sz="2800" b="1">
                  <a:solidFill>
                    <a:schemeClr val="bg1"/>
                  </a:solidFill>
                  <a:latin typeface="Tahoma" panose="020B0604030504040204" pitchFamily="34" charset="0"/>
                  <a:ea typeface="Tahoma" panose="020B0604030504040204" pitchFamily="34" charset="0"/>
                  <a:cs typeface="Tahoma" panose="020B0604030504040204" pitchFamily="34" charset="0"/>
                </a:rPr>
                <a:t>Tính cấp thiết , mục tiêu , nội dung chính của đề tài</a:t>
              </a:r>
            </a:p>
          </p:txBody>
        </p:sp>
      </p:grpSp>
      <p:grpSp>
        <p:nvGrpSpPr>
          <p:cNvPr id="15" name="组合 14"/>
          <p:cNvGrpSpPr/>
          <p:nvPr/>
        </p:nvGrpSpPr>
        <p:grpSpPr>
          <a:xfrm>
            <a:off x="806332" y="2522604"/>
            <a:ext cx="10285736" cy="698828"/>
            <a:chOff x="4503847" y="-349099"/>
            <a:chExt cx="10285736" cy="698828"/>
          </a:xfrm>
        </p:grpSpPr>
        <p:sp>
          <p:nvSpPr>
            <p:cNvPr id="16" name="椭圆 15"/>
            <p:cNvSpPr/>
            <p:nvPr/>
          </p:nvSpPr>
          <p:spPr>
            <a:xfrm>
              <a:off x="4503847" y="-349099"/>
              <a:ext cx="698828" cy="6988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r>
                <a:rPr lang="vi-VN" altLang="vi-VN" sz="2000">
                  <a:solidFill>
                    <a:srgbClr val="174C81"/>
                  </a:solidFill>
                  <a:latin typeface="Noto Sans"/>
                  <a:ea typeface="Noto Sans"/>
                  <a:cs typeface="+mn-ea"/>
                  <a:sym typeface="Source Han Serif SC" panose="02020700000000000000" pitchFamily="18" charset="-122"/>
                </a:rPr>
                <a:t>02</a:t>
              </a:r>
              <a:endParaRPr lang="zh-CN" altLang="en-US" sz="2000">
                <a:solidFill>
                  <a:srgbClr val="174C8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7" name="文本框 16"/>
            <p:cNvSpPr txBox="1"/>
            <p:nvPr/>
          </p:nvSpPr>
          <p:spPr>
            <a:xfrm>
              <a:off x="5411063" y="-245964"/>
              <a:ext cx="9378520" cy="492557"/>
            </a:xfrm>
            <a:prstGeom prst="rect">
              <a:avLst/>
            </a:prstGeom>
            <a:noFill/>
          </p:spPr>
          <p:txBody>
            <a:bodyPr wrap="none" rtlCol="0">
              <a:normAutofit lnSpcReduction="10000"/>
            </a:bodyPr>
            <a:lstStyle/>
            <a:p>
              <a:pPr>
                <a:spcBef>
                  <a:spcPct val="0"/>
                </a:spcBef>
                <a:buClrTx/>
                <a:buFontTx/>
                <a:buNone/>
              </a:pPr>
              <a:r>
                <a:rPr lang="en-US" altLang="en-US" sz="2800" b="1">
                  <a:solidFill>
                    <a:schemeClr val="bg1"/>
                  </a:solidFill>
                </a:rPr>
                <a:t>Giới thiệu về công nghệ thiết kế website</a:t>
              </a:r>
            </a:p>
          </p:txBody>
        </p:sp>
      </p:grpSp>
      <p:grpSp>
        <p:nvGrpSpPr>
          <p:cNvPr id="35" name="组合 34"/>
          <p:cNvGrpSpPr/>
          <p:nvPr/>
        </p:nvGrpSpPr>
        <p:grpSpPr>
          <a:xfrm>
            <a:off x="806332" y="3608094"/>
            <a:ext cx="10156525" cy="698828"/>
            <a:chOff x="-482806" y="1987895"/>
            <a:chExt cx="10156525" cy="698828"/>
          </a:xfrm>
        </p:grpSpPr>
        <p:sp>
          <p:nvSpPr>
            <p:cNvPr id="36" name="椭圆 35"/>
            <p:cNvSpPr/>
            <p:nvPr/>
          </p:nvSpPr>
          <p:spPr>
            <a:xfrm>
              <a:off x="-482806" y="1987895"/>
              <a:ext cx="698828" cy="6988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r>
                <a:rPr lang="vi-VN" altLang="vi-VN" sz="2000">
                  <a:solidFill>
                    <a:srgbClr val="174C81"/>
                  </a:solidFill>
                  <a:latin typeface="Noto Sans"/>
                  <a:ea typeface="Noto Sans"/>
                  <a:cs typeface="+mn-ea"/>
                  <a:sym typeface="Source Han Serif SC" panose="02020700000000000000" pitchFamily="18" charset="-122"/>
                </a:rPr>
                <a:t>03</a:t>
              </a:r>
              <a:endParaRPr lang="zh-CN" altLang="en-US" sz="2000">
                <a:solidFill>
                  <a:srgbClr val="174C8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37" name="文本框 36"/>
            <p:cNvSpPr txBox="1"/>
            <p:nvPr/>
          </p:nvSpPr>
          <p:spPr>
            <a:xfrm>
              <a:off x="424407" y="2106423"/>
              <a:ext cx="9249312" cy="461772"/>
            </a:xfrm>
            <a:prstGeom prst="rect">
              <a:avLst/>
            </a:prstGeom>
            <a:noFill/>
          </p:spPr>
          <p:txBody>
            <a:bodyPr wrap="none" rtlCol="0">
              <a:normAutofit/>
            </a:bodyPr>
            <a:lstStyle/>
            <a:p>
              <a:pPr>
                <a:spcBef>
                  <a:spcPct val="0"/>
                </a:spcBef>
                <a:buClrTx/>
                <a:buFontTx/>
                <a:buNone/>
              </a:pPr>
              <a:r>
                <a:rPr lang="en-US" altLang="en-US" sz="2400" b="1">
                  <a:solidFill>
                    <a:schemeClr val="bg1"/>
                  </a:solidFill>
                </a:rPr>
                <a:t>Phân tích thiết kế hệ thống </a:t>
              </a:r>
            </a:p>
          </p:txBody>
        </p:sp>
      </p:grpSp>
      <p:grpSp>
        <p:nvGrpSpPr>
          <p:cNvPr id="39" name="组合 38"/>
          <p:cNvGrpSpPr/>
          <p:nvPr/>
        </p:nvGrpSpPr>
        <p:grpSpPr>
          <a:xfrm>
            <a:off x="806330" y="4699513"/>
            <a:ext cx="10156527" cy="698828"/>
            <a:chOff x="-482809" y="1794859"/>
            <a:chExt cx="10156527" cy="698828"/>
          </a:xfrm>
        </p:grpSpPr>
        <p:sp>
          <p:nvSpPr>
            <p:cNvPr id="40" name="椭圆 39"/>
            <p:cNvSpPr/>
            <p:nvPr/>
          </p:nvSpPr>
          <p:spPr>
            <a:xfrm>
              <a:off x="-482809" y="1794859"/>
              <a:ext cx="698828" cy="6988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r>
                <a:rPr lang="vi-VN" altLang="vi-VN" sz="2000">
                  <a:solidFill>
                    <a:srgbClr val="174C81"/>
                  </a:solidFill>
                  <a:latin typeface="Noto Sans"/>
                  <a:ea typeface="Noto Sans"/>
                  <a:cs typeface="+mn-ea"/>
                  <a:sym typeface="Source Han Serif SC" panose="02020700000000000000" pitchFamily="18" charset="-122"/>
                </a:rPr>
                <a:t>04</a:t>
              </a:r>
              <a:endParaRPr lang="zh-CN" altLang="en-US" sz="2000">
                <a:solidFill>
                  <a:srgbClr val="174C8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424407" y="1912164"/>
              <a:ext cx="9249311" cy="461772"/>
            </a:xfrm>
            <a:prstGeom prst="rect">
              <a:avLst/>
            </a:prstGeom>
            <a:noFill/>
          </p:spPr>
          <p:txBody>
            <a:bodyPr wrap="none" rtlCol="0">
              <a:normAutofit/>
            </a:bodyPr>
            <a:lstStyle/>
            <a:p>
              <a:pPr>
                <a:spcBef>
                  <a:spcPct val="0"/>
                </a:spcBef>
                <a:buClrTx/>
                <a:buFontTx/>
                <a:buNone/>
              </a:pPr>
              <a:r>
                <a:rPr lang="en-US" altLang="en-US" sz="2400" b="1">
                  <a:solidFill>
                    <a:schemeClr val="bg1"/>
                  </a:solidFill>
                </a:rPr>
                <a:t>Xây dựng và demo chương trình </a:t>
              </a:r>
            </a:p>
          </p:txBody>
        </p:sp>
      </p:grpSp>
      <p:grpSp>
        <p:nvGrpSpPr>
          <p:cNvPr id="2" name="组合 38">
            <a:extLst>
              <a:ext uri="{FF2B5EF4-FFF2-40B4-BE49-F238E27FC236}">
                <a16:creationId xmlns:a16="http://schemas.microsoft.com/office/drawing/2014/main" id="{4E85A813-2DA8-393E-E1E6-8E78B846F4E1}"/>
              </a:ext>
            </a:extLst>
          </p:cNvPr>
          <p:cNvGrpSpPr/>
          <p:nvPr/>
        </p:nvGrpSpPr>
        <p:grpSpPr>
          <a:xfrm>
            <a:off x="806330" y="5790832"/>
            <a:ext cx="10156527" cy="698828"/>
            <a:chOff x="-482809" y="1794859"/>
            <a:chExt cx="10156527" cy="698828"/>
          </a:xfrm>
        </p:grpSpPr>
        <p:sp>
          <p:nvSpPr>
            <p:cNvPr id="3" name="椭圆 39">
              <a:extLst>
                <a:ext uri="{FF2B5EF4-FFF2-40B4-BE49-F238E27FC236}">
                  <a16:creationId xmlns:a16="http://schemas.microsoft.com/office/drawing/2014/main" id="{7D5EE325-95F9-3EC9-6C40-4C37750978F3}"/>
                </a:ext>
              </a:extLst>
            </p:cNvPr>
            <p:cNvSpPr/>
            <p:nvPr/>
          </p:nvSpPr>
          <p:spPr>
            <a:xfrm>
              <a:off x="-482809" y="1794859"/>
              <a:ext cx="698828" cy="6988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r>
                <a:rPr lang="vi-VN" altLang="vi-VN" sz="2000">
                  <a:solidFill>
                    <a:srgbClr val="174C81"/>
                  </a:solidFill>
                  <a:latin typeface="Noto Sans"/>
                  <a:ea typeface="Noto Sans"/>
                  <a:cs typeface="+mn-ea"/>
                  <a:sym typeface="Source Han Serif SC" panose="02020700000000000000" pitchFamily="18" charset="-122"/>
                </a:rPr>
                <a:t>0</a:t>
              </a:r>
              <a:r>
                <a:rPr lang="en-US" altLang="vi-VN" sz="2000">
                  <a:solidFill>
                    <a:srgbClr val="174C81"/>
                  </a:solidFill>
                  <a:latin typeface="Noto Sans"/>
                  <a:ea typeface="Noto Sans"/>
                  <a:cs typeface="+mn-ea"/>
                  <a:sym typeface="Source Han Serif SC" panose="02020700000000000000" pitchFamily="18" charset="-122"/>
                </a:rPr>
                <a:t>5</a:t>
              </a:r>
              <a:endParaRPr lang="zh-CN" altLang="en-US" sz="2000">
                <a:solidFill>
                  <a:srgbClr val="174C8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 name="文本框 40">
              <a:extLst>
                <a:ext uri="{FF2B5EF4-FFF2-40B4-BE49-F238E27FC236}">
                  <a16:creationId xmlns:a16="http://schemas.microsoft.com/office/drawing/2014/main" id="{03ED7729-D1C8-E683-2C07-8D06E05F7D03}"/>
                </a:ext>
              </a:extLst>
            </p:cNvPr>
            <p:cNvSpPr txBox="1"/>
            <p:nvPr/>
          </p:nvSpPr>
          <p:spPr>
            <a:xfrm>
              <a:off x="424407" y="1913387"/>
              <a:ext cx="9249311" cy="461772"/>
            </a:xfrm>
            <a:prstGeom prst="rect">
              <a:avLst/>
            </a:prstGeom>
            <a:noFill/>
          </p:spPr>
          <p:txBody>
            <a:bodyPr wrap="none" rtlCol="0">
              <a:normAutofit/>
            </a:bodyPr>
            <a:lstStyle/>
            <a:p>
              <a:pPr>
                <a:spcBef>
                  <a:spcPct val="0"/>
                </a:spcBef>
                <a:buClrTx/>
                <a:buFontTx/>
                <a:buNone/>
              </a:pPr>
              <a:r>
                <a:rPr lang="en-US" altLang="en-US" sz="2400" b="1">
                  <a:solidFill>
                    <a:schemeClr val="bg1"/>
                  </a:solidFill>
                </a:rPr>
                <a:t>Kết luận và hướng phát triển</a:t>
              </a:r>
            </a:p>
          </p:txBody>
        </p:sp>
      </p:gr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2922104" y="577516"/>
            <a:ext cx="6221896" cy="863657"/>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KHẢO SÁT YÊU CẦU VỀ CHỨC NĂNG</a:t>
            </a:r>
            <a:endParaRPr lang="vi-VN" altLang="vi-VN" sz="2600" b="1">
              <a:solidFill>
                <a:srgbClr val="004195"/>
              </a:solidFill>
              <a:latin typeface="Noto Sans"/>
              <a:ea typeface="Noto Sans"/>
              <a:cs typeface="+mn-ea"/>
              <a:sym typeface="Source Han Serif SC" panose="02020700000000000000" pitchFamily="18" charset="-122"/>
            </a:endParaRPr>
          </a:p>
        </p:txBody>
      </p:sp>
      <p:sp>
        <p:nvSpPr>
          <p:cNvPr id="2" name="Rectangle 3">
            <a:extLst>
              <a:ext uri="{FF2B5EF4-FFF2-40B4-BE49-F238E27FC236}">
                <a16:creationId xmlns:a16="http://schemas.microsoft.com/office/drawing/2014/main" id="{40F55A01-C850-6C75-AF67-8A4126D25231}"/>
              </a:ext>
            </a:extLst>
          </p:cNvPr>
          <p:cNvSpPr txBox="1">
            <a:spLocks noChangeArrowheads="1"/>
          </p:cNvSpPr>
          <p:nvPr/>
        </p:nvSpPr>
        <p:spPr bwMode="auto">
          <a:xfrm>
            <a:off x="761999" y="805069"/>
            <a:ext cx="10886661" cy="5601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indent="-400050">
              <a:spcBef>
                <a:spcPct val="20000"/>
              </a:spcBef>
              <a:buClr>
                <a:schemeClr val="tx2"/>
              </a:buClr>
              <a:buFont typeface="Wingdings" panose="05000000000000000000" pitchFamily="2" charset="2"/>
              <a:buChar char="§"/>
              <a:defRPr sz="2800">
                <a:solidFill>
                  <a:schemeClr val="tx1"/>
                </a:solidFill>
                <a:latin typeface="Arial" panose="020B0604020202020204" pitchFamily="34" charset="0"/>
              </a:defRPr>
            </a:lvl1pPr>
            <a:lvl2pPr marL="342900" indent="-342900">
              <a:spcBef>
                <a:spcPct val="20000"/>
              </a:spcBef>
              <a:buClr>
                <a:schemeClr val="accent1"/>
              </a:buClr>
              <a:buFont typeface="Wingdings" panose="05000000000000000000" pitchFamily="2" charset="2"/>
              <a:buChar char="§"/>
              <a:defRPr sz="2400">
                <a:solidFill>
                  <a:schemeClr val="tx1"/>
                </a:solidFill>
                <a:latin typeface="Arial" panose="020B0604020202020204" pitchFamily="34" charset="0"/>
              </a:defRPr>
            </a:lvl2pPr>
            <a:lvl3pPr marL="1143000" indent="-228600">
              <a:spcBef>
                <a:spcPct val="20000"/>
              </a:spcBef>
              <a:buClr>
                <a:schemeClr val="tx1"/>
              </a:buClr>
              <a:buChar char="•"/>
              <a:defRPr sz="2000">
                <a:solidFill>
                  <a:schemeClr val="tx1"/>
                </a:solidFill>
                <a:latin typeface="Arial" panose="020B0604020202020204" pitchFamily="34" charset="0"/>
              </a:defRPr>
            </a:lvl3pPr>
            <a:lvl4pPr marL="1600200" indent="-228600">
              <a:spcBef>
                <a:spcPct val="20000"/>
              </a:spcBef>
              <a:buChar char="–"/>
              <a:defRPr>
                <a:solidFill>
                  <a:schemeClr val="tx1"/>
                </a:solidFill>
                <a:latin typeface="Arial" panose="020B0604020202020204" pitchFamily="34" charset="0"/>
              </a:defRPr>
            </a:lvl4pPr>
            <a:lvl5pPr marL="2057400" indent="-22860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lvl="1">
              <a:lnSpc>
                <a:spcPct val="150000"/>
              </a:lnSpc>
              <a:buClr>
                <a:schemeClr val="tx2"/>
              </a:buClr>
              <a:buFont typeface="Wingdings" panose="05000000000000000000" pitchFamily="2" charset="2"/>
              <a:buChar char="v"/>
              <a:defRPr/>
            </a:pPr>
            <a:r>
              <a:rPr lang="en-US" sz="1800" b="1">
                <a:latin typeface="Times New Roman" panose="02020603050405020304" pitchFamily="18" charset="0"/>
                <a:cs typeface="Times New Roman" panose="02020603050405020304" pitchFamily="18" charset="0"/>
              </a:rPr>
              <a:t> </a:t>
            </a:r>
            <a:r>
              <a:rPr lang="en-US" sz="2200" b="1" u="sng">
                <a:latin typeface="Times New Roman" panose="02020603050405020304" pitchFamily="18" charset="0"/>
                <a:cs typeface="Times New Roman" panose="02020603050405020304" pitchFamily="18" charset="0"/>
              </a:rPr>
              <a:t>Giao diện thông tin sản phẩm</a:t>
            </a:r>
          </a:p>
        </p:txBody>
      </p:sp>
      <p:pic>
        <p:nvPicPr>
          <p:cNvPr id="4" name="Picture 3">
            <a:extLst>
              <a:ext uri="{FF2B5EF4-FFF2-40B4-BE49-F238E27FC236}">
                <a16:creationId xmlns:a16="http://schemas.microsoft.com/office/drawing/2014/main" id="{18397CBC-8DCC-3AAA-69BF-A351918656EE}"/>
              </a:ext>
            </a:extLst>
          </p:cNvPr>
          <p:cNvPicPr>
            <a:picLocks noChangeAspect="1"/>
          </p:cNvPicPr>
          <p:nvPr/>
        </p:nvPicPr>
        <p:blipFill>
          <a:blip r:embed="rId4"/>
          <a:stretch>
            <a:fillRect/>
          </a:stretch>
        </p:blipFill>
        <p:spPr>
          <a:xfrm>
            <a:off x="2202610" y="1368447"/>
            <a:ext cx="7260567" cy="5038067"/>
          </a:xfrm>
          <a:prstGeom prst="rect">
            <a:avLst/>
          </a:prstGeom>
        </p:spPr>
      </p:pic>
    </p:spTree>
    <p:custDataLst>
      <p:tags r:id="rId1"/>
    </p:custDataLst>
    <p:extLst>
      <p:ext uri="{BB962C8B-B14F-4D97-AF65-F5344CB8AC3E}">
        <p14:creationId xmlns:p14="http://schemas.microsoft.com/office/powerpoint/2010/main" val="4063341327"/>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80">
                                          <p:stCondLst>
                                            <p:cond delay="0"/>
                                          </p:stCondLst>
                                        </p:cTn>
                                        <p:tgtEl>
                                          <p:spTgt spid="2">
                                            <p:txEl>
                                              <p:pRg st="0" end="0"/>
                                            </p:txEl>
                                          </p:spTgt>
                                        </p:tgtEl>
                                      </p:cBhvr>
                                    </p:animEffect>
                                    <p:anim calcmode="lin" valueType="num">
                                      <p:cBhvr>
                                        <p:cTn id="8" dur="1822" tmFilter="0,0; 0.14,0.36; 0.43,0.73; 0.71,0.91; 1.0,1.0">
                                          <p:stCondLst>
                                            <p:cond delay="0"/>
                                          </p:stCondLst>
                                        </p:cTn>
                                        <p:tgtEl>
                                          <p:spTgt spid="2">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xEl>
                                              <p:pRg st="0" end="0"/>
                                            </p:txEl>
                                          </p:spTgt>
                                        </p:tgtEl>
                                      </p:cBhvr>
                                      <p:to x="100000" y="60000"/>
                                    </p:animScale>
                                    <p:animScale>
                                      <p:cBhvr>
                                        <p:cTn id="14" dur="166" decel="50000">
                                          <p:stCondLst>
                                            <p:cond delay="676"/>
                                          </p:stCondLst>
                                        </p:cTn>
                                        <p:tgtEl>
                                          <p:spTgt spid="2">
                                            <p:txEl>
                                              <p:pRg st="0" end="0"/>
                                            </p:txEl>
                                          </p:spTgt>
                                        </p:tgtEl>
                                      </p:cBhvr>
                                      <p:to x="100000" y="100000"/>
                                    </p:animScale>
                                    <p:animScale>
                                      <p:cBhvr>
                                        <p:cTn id="15" dur="26">
                                          <p:stCondLst>
                                            <p:cond delay="1312"/>
                                          </p:stCondLst>
                                        </p:cTn>
                                        <p:tgtEl>
                                          <p:spTgt spid="2">
                                            <p:txEl>
                                              <p:pRg st="0" end="0"/>
                                            </p:txEl>
                                          </p:spTgt>
                                        </p:tgtEl>
                                      </p:cBhvr>
                                      <p:to x="100000" y="80000"/>
                                    </p:animScale>
                                    <p:animScale>
                                      <p:cBhvr>
                                        <p:cTn id="16" dur="166" decel="50000">
                                          <p:stCondLst>
                                            <p:cond delay="1338"/>
                                          </p:stCondLst>
                                        </p:cTn>
                                        <p:tgtEl>
                                          <p:spTgt spid="2">
                                            <p:txEl>
                                              <p:pRg st="0" end="0"/>
                                            </p:txEl>
                                          </p:spTgt>
                                        </p:tgtEl>
                                      </p:cBhvr>
                                      <p:to x="100000" y="100000"/>
                                    </p:animScale>
                                    <p:animScale>
                                      <p:cBhvr>
                                        <p:cTn id="17" dur="26">
                                          <p:stCondLst>
                                            <p:cond delay="1642"/>
                                          </p:stCondLst>
                                        </p:cTn>
                                        <p:tgtEl>
                                          <p:spTgt spid="2">
                                            <p:txEl>
                                              <p:pRg st="0" end="0"/>
                                            </p:txEl>
                                          </p:spTgt>
                                        </p:tgtEl>
                                      </p:cBhvr>
                                      <p:to x="100000" y="90000"/>
                                    </p:animScale>
                                    <p:animScale>
                                      <p:cBhvr>
                                        <p:cTn id="18" dur="166" decel="50000">
                                          <p:stCondLst>
                                            <p:cond delay="1668"/>
                                          </p:stCondLst>
                                        </p:cTn>
                                        <p:tgtEl>
                                          <p:spTgt spid="2">
                                            <p:txEl>
                                              <p:pRg st="0" end="0"/>
                                            </p:txEl>
                                          </p:spTgt>
                                        </p:tgtEl>
                                      </p:cBhvr>
                                      <p:to x="100000" y="100000"/>
                                    </p:animScale>
                                    <p:animScale>
                                      <p:cBhvr>
                                        <p:cTn id="19" dur="26">
                                          <p:stCondLst>
                                            <p:cond delay="1808"/>
                                          </p:stCondLst>
                                        </p:cTn>
                                        <p:tgtEl>
                                          <p:spTgt spid="2">
                                            <p:txEl>
                                              <p:pRg st="0" end="0"/>
                                            </p:txEl>
                                          </p:spTgt>
                                        </p:tgtEl>
                                      </p:cBhvr>
                                      <p:to x="100000" y="95000"/>
                                    </p:animScale>
                                    <p:animScale>
                                      <p:cBhvr>
                                        <p:cTn id="20" dur="166" decel="50000">
                                          <p:stCondLst>
                                            <p:cond delay="1834"/>
                                          </p:stCondLst>
                                        </p:cTn>
                                        <p:tgtEl>
                                          <p:spTgt spid="2">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39" name="组合 38"/>
          <p:cNvGrpSpPr/>
          <p:nvPr/>
        </p:nvGrpSpPr>
        <p:grpSpPr>
          <a:xfrm>
            <a:off x="3845560" y="584836"/>
            <a:ext cx="4501515" cy="763138"/>
            <a:chOff x="-214879" y="1137968"/>
            <a:chExt cx="8607213" cy="763093"/>
          </a:xfrm>
        </p:grpSpPr>
        <p:sp>
          <p:nvSpPr>
            <p:cNvPr id="41" name="文本框 40"/>
            <p:cNvSpPr txBox="1"/>
            <p:nvPr/>
          </p:nvSpPr>
          <p:spPr>
            <a:xfrm>
              <a:off x="1679218" y="1137968"/>
              <a:ext cx="4817805" cy="426695"/>
            </a:xfrm>
            <a:prstGeom prst="rect">
              <a:avLst/>
            </a:prstGeom>
            <a:noFill/>
          </p:spPr>
          <p:txBody>
            <a:bodyPr wrap="square" rtlCol="0">
              <a:normAutofit/>
            </a:bodyPr>
            <a:lstStyle/>
            <a:p>
              <a:pPr algn="ctr"/>
              <a:r>
                <a:rPr lang="vi-VN" altLang="vi-VN" sz="2200">
                  <a:solidFill>
                    <a:srgbClr val="004195"/>
                  </a:solidFill>
                  <a:latin typeface="Noto Sans"/>
                  <a:ea typeface="Noto Sans"/>
                  <a:cs typeface="+mn-ea"/>
                  <a:sym typeface="Source Han Serif SC" panose="02020700000000000000" pitchFamily="18" charset="-122"/>
                </a:rPr>
                <a:t>Điều kiện vận</a:t>
              </a:r>
            </a:p>
          </p:txBody>
        </p:sp>
        <p:sp>
          <p:nvSpPr>
            <p:cNvPr id="42" name="文本框 41"/>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sp>
        <p:nvSpPr>
          <p:cNvPr id="3" name="文本框 2"/>
          <p:cNvSpPr txBox="1"/>
          <p:nvPr/>
        </p:nvSpPr>
        <p:spPr>
          <a:xfrm>
            <a:off x="2671046" y="1815096"/>
            <a:ext cx="6851175" cy="337796"/>
          </a:xfrm>
          <a:prstGeom prst="rect">
            <a:avLst/>
          </a:prstGeom>
          <a:noFill/>
        </p:spPr>
        <p:txBody>
          <a:bodyPr wrap="square" rtlCol="0">
            <a:normAutofit/>
          </a:bodyPr>
          <a:lstStyle/>
          <a:p>
            <a:pPr algn="ctr">
              <a:lnSpc>
                <a:spcPct val="120000"/>
              </a:lnSpc>
            </a:pPr>
            <a:r>
              <a:rPr lang="vi-VN" altLang="vi-VN" sz="140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 với</a:t>
            </a:r>
          </a:p>
        </p:txBody>
      </p:sp>
      <p:graphicFrame>
        <p:nvGraphicFramePr>
          <p:cNvPr id="10" name="图表 9"/>
          <p:cNvGraphicFramePr/>
          <p:nvPr/>
        </p:nvGraphicFramePr>
        <p:xfrm>
          <a:off x="885508" y="2422064"/>
          <a:ext cx="4993824" cy="31662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11"/>
          <p:cNvGraphicFramePr/>
          <p:nvPr/>
        </p:nvGraphicFramePr>
        <p:xfrm>
          <a:off x="6334258" y="2422064"/>
          <a:ext cx="4993824" cy="3166295"/>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圆角矩形 5"/>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39" name="组合 38"/>
          <p:cNvGrpSpPr/>
          <p:nvPr/>
        </p:nvGrpSpPr>
        <p:grpSpPr>
          <a:xfrm>
            <a:off x="3845560" y="584836"/>
            <a:ext cx="4501515" cy="763138"/>
            <a:chOff x="-214879" y="1137968"/>
            <a:chExt cx="8607213" cy="763093"/>
          </a:xfrm>
        </p:grpSpPr>
        <p:sp>
          <p:nvSpPr>
            <p:cNvPr id="41" name="文本框 40"/>
            <p:cNvSpPr txBox="1"/>
            <p:nvPr/>
          </p:nvSpPr>
          <p:spPr>
            <a:xfrm>
              <a:off x="1679218" y="1137968"/>
              <a:ext cx="4817805" cy="426695"/>
            </a:xfrm>
            <a:prstGeom prst="rect">
              <a:avLst/>
            </a:prstGeom>
            <a:noFill/>
          </p:spPr>
          <p:txBody>
            <a:bodyPr wrap="square" rtlCol="0">
              <a:normAutofit/>
            </a:bodyPr>
            <a:lstStyle/>
            <a:p>
              <a:pPr algn="ctr"/>
              <a:r>
                <a:rPr lang="vi-VN" altLang="vi-VN" sz="2200">
                  <a:solidFill>
                    <a:srgbClr val="004195"/>
                  </a:solidFill>
                  <a:latin typeface="Noto Sans"/>
                  <a:ea typeface="Noto Sans"/>
                  <a:cs typeface="+mn-ea"/>
                  <a:sym typeface="Source Han Serif SC" panose="02020700000000000000" pitchFamily="18" charset="-122"/>
                </a:rPr>
                <a:t>Điều kiện vận</a:t>
              </a:r>
            </a:p>
          </p:txBody>
        </p:sp>
        <p:sp>
          <p:nvSpPr>
            <p:cNvPr id="42" name="文本框 41"/>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sp>
        <p:nvSpPr>
          <p:cNvPr id="3" name="AutoShape 4"/>
          <p:cNvSpPr>
            <a:spLocks noChangeArrowheads="1"/>
          </p:cNvSpPr>
          <p:nvPr>
            <p:custDataLst>
              <p:tags r:id="rId1"/>
            </p:custDataLst>
          </p:nvPr>
        </p:nvSpPr>
        <p:spPr bwMode="white">
          <a:xfrm>
            <a:off x="1291776" y="2432029"/>
            <a:ext cx="2908279" cy="2013424"/>
          </a:xfrm>
          <a:prstGeom prst="roundRect">
            <a:avLst>
              <a:gd name="adj" fmla="val 5304"/>
            </a:avLst>
          </a:prstGeom>
          <a:noFill/>
          <a:ln w="19050" cap="flat" cmpd="sng" algn="ctr">
            <a:solidFill>
              <a:schemeClr val="bg1">
                <a:lumMod val="75000"/>
              </a:schemeClr>
            </a:solidFill>
            <a:prstDash val="solid"/>
          </a:ln>
          <a:effectLst/>
        </p:spPr>
        <p:txBody>
          <a:bodyPr anchor="ctr"/>
          <a:lstStyle/>
          <a:p>
            <a:pPr marL="0" lvl="2" algn="ctr" eaLnBrk="0" fontAlgn="ctr" hangingPunct="0">
              <a:buClr>
                <a:srgbClr val="FF0000"/>
              </a:buClr>
              <a:buSzPct val="70000"/>
              <a:buFont typeface="Wingdings" panose="05000000000000000000" pitchFamily="2" charset="2"/>
              <a:buChar char="n"/>
              <a:tabLst>
                <a:tab pos="136525" algn="l"/>
              </a:tabLst>
              <a:defRPr/>
            </a:pPr>
            <a:endParaRPr lang="zh-CN" altLang="en-US" sz="1865" b="1" kern="0">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 name="AutoShape 4"/>
          <p:cNvSpPr>
            <a:spLocks noChangeArrowheads="1"/>
          </p:cNvSpPr>
          <p:nvPr>
            <p:custDataLst>
              <p:tags r:id="rId2"/>
            </p:custDataLst>
          </p:nvPr>
        </p:nvSpPr>
        <p:spPr bwMode="white">
          <a:xfrm>
            <a:off x="4693392" y="2432029"/>
            <a:ext cx="2908279" cy="2013424"/>
          </a:xfrm>
          <a:prstGeom prst="roundRect">
            <a:avLst>
              <a:gd name="adj" fmla="val 7012"/>
            </a:avLst>
          </a:prstGeom>
          <a:noFill/>
          <a:ln w="19050" cap="flat" cmpd="sng" algn="ctr">
            <a:solidFill>
              <a:schemeClr val="bg1">
                <a:lumMod val="75000"/>
              </a:schemeClr>
            </a:solidFill>
            <a:prstDash val="solid"/>
          </a:ln>
          <a:effectLst/>
        </p:spPr>
        <p:txBody>
          <a:bodyPr anchor="ctr"/>
          <a:lstStyle/>
          <a:p>
            <a:pPr marL="0" lvl="2" algn="ctr" eaLnBrk="0" fontAlgn="ctr" hangingPunct="0">
              <a:buClr>
                <a:srgbClr val="FF0000"/>
              </a:buClr>
              <a:buSzPct val="70000"/>
              <a:buFont typeface="Wingdings" panose="05000000000000000000" pitchFamily="2" charset="2"/>
              <a:buChar char="n"/>
              <a:tabLst>
                <a:tab pos="136525" algn="l"/>
              </a:tabLst>
              <a:defRPr/>
            </a:pPr>
            <a:endParaRPr lang="zh-CN" altLang="en-US" sz="1865" b="1" kern="0">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5" name="AutoShape 3"/>
          <p:cNvSpPr>
            <a:spLocks noChangeArrowheads="1"/>
          </p:cNvSpPr>
          <p:nvPr/>
        </p:nvSpPr>
        <p:spPr bwMode="auto">
          <a:xfrm>
            <a:off x="5108248" y="1942636"/>
            <a:ext cx="2013424" cy="626399"/>
          </a:xfrm>
          <a:prstGeom prst="roundRect">
            <a:avLst/>
          </a:prstGeom>
          <a:solidFill>
            <a:srgbClr val="004195"/>
          </a:solidFill>
          <a:ln w="25400" cap="flat" cmpd="sng" algn="ctr">
            <a:noFill/>
            <a:prstDash val="solid"/>
          </a:ln>
          <a:effectLst/>
        </p:spPr>
        <p:txBody>
          <a:bodyPr anchor="ctr"/>
          <a:lstStyle/>
          <a:p>
            <a:pPr algn="ctr" eaLnBrk="0" fontAlgn="ctr" hangingPunct="0">
              <a:buClr>
                <a:srgbClr val="FF0000"/>
              </a:buClr>
              <a:buSzPct val="70000"/>
              <a:defRPr/>
            </a:pPr>
            <a:endParaRPr lang="zh-CN" altLang="zh-CN" sz="2135" kern="0">
              <a:solidFill>
                <a:schemeClr val="bg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TextBox 19"/>
          <p:cNvSpPr txBox="1"/>
          <p:nvPr/>
        </p:nvSpPr>
        <p:spPr bwMode="auto">
          <a:xfrm>
            <a:off x="5237580" y="2006121"/>
            <a:ext cx="1744889" cy="368014"/>
          </a:xfrm>
          <a:prstGeom prst="roundRect">
            <a:avLst/>
          </a:prstGeom>
          <a:noFill/>
          <a:scene3d>
            <a:camera prst="orthographicFront"/>
            <a:lightRig rig="threePt" dir="t"/>
          </a:scene3d>
          <a:sp3d/>
        </p:spPr>
        <p:txBody>
          <a:bodyPr wrap="square">
            <a:normAutofit lnSpcReduction="10000"/>
          </a:bodyPr>
          <a:lstStyle/>
          <a:p>
            <a:pPr algn="ctr">
              <a:buClr>
                <a:srgbClr val="7F7F7F"/>
              </a:buClr>
              <a:defRPr/>
            </a:pPr>
            <a:r>
              <a:rPr lang="vi-VN" altLang="vi-VN" sz="1600">
                <a:solidFill>
                  <a:schemeClr val="bg1"/>
                </a:solidFill>
                <a:latin typeface="Noto Sans"/>
                <a:ea typeface="Noto Sans"/>
                <a:cs typeface="+mn-ea"/>
                <a:sym typeface="Source Han Serif SC" panose="02020700000000000000" pitchFamily="18" charset="-122"/>
              </a:rPr>
              <a:t>tiêu đề văn</a:t>
            </a:r>
          </a:p>
        </p:txBody>
      </p:sp>
      <p:sp>
        <p:nvSpPr>
          <p:cNvPr id="8" name="AutoShape 3"/>
          <p:cNvSpPr>
            <a:spLocks noChangeArrowheads="1"/>
          </p:cNvSpPr>
          <p:nvPr/>
        </p:nvSpPr>
        <p:spPr bwMode="auto">
          <a:xfrm>
            <a:off x="1706632" y="1942636"/>
            <a:ext cx="2013424" cy="626399"/>
          </a:xfrm>
          <a:prstGeom prst="roundRect">
            <a:avLst/>
          </a:prstGeom>
          <a:solidFill>
            <a:srgbClr val="0067CC"/>
          </a:solidFill>
          <a:ln w="25400" cap="flat" cmpd="sng" algn="ctr">
            <a:noFill/>
            <a:prstDash val="solid"/>
          </a:ln>
          <a:effectLst/>
        </p:spPr>
        <p:txBody>
          <a:bodyPr anchor="ctr"/>
          <a:lstStyle/>
          <a:p>
            <a:pPr algn="ctr" eaLnBrk="0" fontAlgn="ctr" hangingPunct="0">
              <a:buClr>
                <a:srgbClr val="FF0000"/>
              </a:buClr>
              <a:buSzPct val="70000"/>
              <a:buFont typeface="Wingdings" panose="05000000000000000000" pitchFamily="2" charset="2"/>
              <a:buChar char="u"/>
              <a:defRPr/>
            </a:pPr>
            <a:endParaRPr lang="zh-CN" altLang="zh-CN" sz="2135" kern="0">
              <a:solidFill>
                <a:schemeClr val="bg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9" name="TextBox 21"/>
          <p:cNvSpPr txBox="1"/>
          <p:nvPr/>
        </p:nvSpPr>
        <p:spPr bwMode="auto">
          <a:xfrm>
            <a:off x="1869941" y="2006121"/>
            <a:ext cx="1676935" cy="368014"/>
          </a:xfrm>
          <a:prstGeom prst="roundRect">
            <a:avLst/>
          </a:prstGeom>
          <a:noFill/>
          <a:scene3d>
            <a:camera prst="orthographicFront"/>
            <a:lightRig rig="threePt" dir="t"/>
          </a:scene3d>
          <a:sp3d/>
        </p:spPr>
        <p:txBody>
          <a:bodyPr wrap="square">
            <a:normAutofit lnSpcReduction="10000"/>
          </a:bodyPr>
          <a:lstStyle/>
          <a:p>
            <a:pPr algn="ctr">
              <a:buClr>
                <a:srgbClr val="7F7F7F"/>
              </a:buClr>
              <a:defRPr/>
            </a:pPr>
            <a:r>
              <a:rPr lang="vi-VN" altLang="vi-VN" sz="1600">
                <a:solidFill>
                  <a:schemeClr val="bg1"/>
                </a:solidFill>
                <a:latin typeface="Noto Sans"/>
                <a:ea typeface="Noto Sans"/>
                <a:cs typeface="+mn-ea"/>
                <a:sym typeface="Source Han Serif SC" panose="02020700000000000000" pitchFamily="18" charset="-122"/>
              </a:rPr>
              <a:t>tiêu đề văn</a:t>
            </a:r>
            <a:endParaRPr lang="zh-CN" altLang="zh-CN" sz="2135">
              <a:solidFill>
                <a:schemeClr val="bg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0" name="矩形 9"/>
          <p:cNvSpPr/>
          <p:nvPr/>
        </p:nvSpPr>
        <p:spPr>
          <a:xfrm>
            <a:off x="1558925" y="3014345"/>
            <a:ext cx="2373630" cy="822960"/>
          </a:xfrm>
          <a:prstGeom prst="rect">
            <a:avLst/>
          </a:prstGeom>
        </p:spPr>
        <p:txBody>
          <a:bodyPr wrap="square">
            <a:normAutofit/>
          </a:bodyPr>
          <a:lstStyle/>
          <a:p>
            <a:pPr marL="0" lvl="2" algn="ctr" defTabSz="913130" eaLnBrk="0" hangingPunct="0">
              <a:buClr>
                <a:srgbClr val="0070C0"/>
              </a:buClr>
              <a:buSzPct val="80000"/>
              <a:tabLst>
                <a:tab pos="136525" algn="l"/>
              </a:tabLst>
              <a:defRPr/>
            </a:pPr>
            <a:r>
              <a:rPr lang="vi-VN" altLang="vi-VN" sz="1600" spc="50">
                <a:ln w="1143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 với tiêu</a:t>
            </a:r>
          </a:p>
        </p:txBody>
      </p:sp>
      <p:sp>
        <p:nvSpPr>
          <p:cNvPr id="12" name="矩形 11"/>
          <p:cNvSpPr/>
          <p:nvPr/>
        </p:nvSpPr>
        <p:spPr>
          <a:xfrm>
            <a:off x="4959985" y="3014345"/>
            <a:ext cx="2373630" cy="822960"/>
          </a:xfrm>
          <a:prstGeom prst="rect">
            <a:avLst/>
          </a:prstGeom>
        </p:spPr>
        <p:txBody>
          <a:bodyPr wrap="square">
            <a:normAutofit/>
          </a:bodyPr>
          <a:lstStyle/>
          <a:p>
            <a:pPr marL="0" lvl="2" algn="ctr" defTabSz="913130" eaLnBrk="0" hangingPunct="0">
              <a:buClr>
                <a:srgbClr val="0070C0"/>
              </a:buClr>
              <a:buSzPct val="80000"/>
              <a:tabLst>
                <a:tab pos="136525" algn="l"/>
              </a:tabLst>
              <a:defRPr/>
            </a:pPr>
            <a:r>
              <a:rPr lang="vi-VN" altLang="vi-VN" sz="1600" spc="50">
                <a:ln w="1143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 với tiêu</a:t>
            </a:r>
          </a:p>
        </p:txBody>
      </p:sp>
      <p:sp>
        <p:nvSpPr>
          <p:cNvPr id="14" name="AutoShape 4"/>
          <p:cNvSpPr>
            <a:spLocks noChangeArrowheads="1"/>
          </p:cNvSpPr>
          <p:nvPr>
            <p:custDataLst>
              <p:tags r:id="rId3"/>
            </p:custDataLst>
          </p:nvPr>
        </p:nvSpPr>
        <p:spPr bwMode="white">
          <a:xfrm>
            <a:off x="8084265" y="2432029"/>
            <a:ext cx="2908279" cy="2013424"/>
          </a:xfrm>
          <a:prstGeom prst="roundRect">
            <a:avLst>
              <a:gd name="adj" fmla="val 7012"/>
            </a:avLst>
          </a:prstGeom>
          <a:noFill/>
          <a:ln w="19050" cap="flat" cmpd="sng" algn="ctr">
            <a:solidFill>
              <a:schemeClr val="bg1">
                <a:lumMod val="75000"/>
              </a:schemeClr>
            </a:solidFill>
            <a:prstDash val="solid"/>
          </a:ln>
          <a:effectLst/>
        </p:spPr>
        <p:txBody>
          <a:bodyPr anchor="ctr"/>
          <a:lstStyle/>
          <a:p>
            <a:pPr marL="0" lvl="2" algn="ctr" eaLnBrk="0" fontAlgn="ctr" hangingPunct="0">
              <a:buClr>
                <a:srgbClr val="FF0000"/>
              </a:buClr>
              <a:buSzPct val="70000"/>
              <a:buFont typeface="Wingdings" panose="05000000000000000000" pitchFamily="2" charset="2"/>
              <a:buChar char="n"/>
              <a:tabLst>
                <a:tab pos="136525" algn="l"/>
              </a:tabLst>
              <a:defRPr/>
            </a:pPr>
            <a:endParaRPr lang="zh-CN" altLang="en-US" sz="1865" b="1" kern="0">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5" name="AutoShape 3"/>
          <p:cNvSpPr>
            <a:spLocks noChangeArrowheads="1"/>
          </p:cNvSpPr>
          <p:nvPr/>
        </p:nvSpPr>
        <p:spPr bwMode="auto">
          <a:xfrm>
            <a:off x="8499121" y="1942636"/>
            <a:ext cx="2013424" cy="626399"/>
          </a:xfrm>
          <a:prstGeom prst="roundRect">
            <a:avLst/>
          </a:prstGeom>
          <a:solidFill>
            <a:srgbClr val="0067CC"/>
          </a:solidFill>
          <a:ln w="25400" cap="flat" cmpd="sng" algn="ctr">
            <a:noFill/>
            <a:prstDash val="solid"/>
          </a:ln>
          <a:effectLst/>
        </p:spPr>
        <p:txBody>
          <a:bodyPr anchor="ctr"/>
          <a:lstStyle/>
          <a:p>
            <a:pPr algn="ctr" eaLnBrk="0" fontAlgn="ctr" hangingPunct="0">
              <a:buClr>
                <a:srgbClr val="FF0000"/>
              </a:buClr>
              <a:buSzPct val="70000"/>
              <a:defRPr/>
            </a:pPr>
            <a:endParaRPr lang="zh-CN" altLang="zh-CN" sz="2135" kern="0">
              <a:solidFill>
                <a:schemeClr val="bg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6" name="TextBox 28"/>
          <p:cNvSpPr txBox="1"/>
          <p:nvPr/>
        </p:nvSpPr>
        <p:spPr bwMode="auto">
          <a:xfrm>
            <a:off x="8628455" y="2006121"/>
            <a:ext cx="1744889" cy="368014"/>
          </a:xfrm>
          <a:prstGeom prst="roundRect">
            <a:avLst/>
          </a:prstGeom>
          <a:noFill/>
          <a:scene3d>
            <a:camera prst="orthographicFront"/>
            <a:lightRig rig="threePt" dir="t"/>
          </a:scene3d>
          <a:sp3d/>
        </p:spPr>
        <p:txBody>
          <a:bodyPr wrap="square">
            <a:normAutofit lnSpcReduction="10000"/>
          </a:bodyPr>
          <a:lstStyle/>
          <a:p>
            <a:pPr algn="ctr">
              <a:buClr>
                <a:srgbClr val="7F7F7F"/>
              </a:buClr>
              <a:defRPr/>
            </a:pPr>
            <a:r>
              <a:rPr lang="vi-VN" altLang="vi-VN" sz="1600">
                <a:solidFill>
                  <a:schemeClr val="bg1"/>
                </a:solidFill>
                <a:latin typeface="Noto Sans"/>
                <a:ea typeface="Noto Sans"/>
                <a:cs typeface="+mn-ea"/>
                <a:sym typeface="Source Han Serif SC" panose="02020700000000000000" pitchFamily="18" charset="-122"/>
              </a:rPr>
              <a:t>tiêu đề văn</a:t>
            </a:r>
          </a:p>
        </p:txBody>
      </p:sp>
      <p:sp>
        <p:nvSpPr>
          <p:cNvPr id="17" name="矩形 16"/>
          <p:cNvSpPr/>
          <p:nvPr/>
        </p:nvSpPr>
        <p:spPr>
          <a:xfrm>
            <a:off x="8350885" y="3014345"/>
            <a:ext cx="2373630" cy="822960"/>
          </a:xfrm>
          <a:prstGeom prst="rect">
            <a:avLst/>
          </a:prstGeom>
        </p:spPr>
        <p:txBody>
          <a:bodyPr wrap="square">
            <a:normAutofit/>
          </a:bodyPr>
          <a:lstStyle/>
          <a:p>
            <a:pPr marL="0" lvl="2" algn="ctr" defTabSz="913130" eaLnBrk="0" hangingPunct="0">
              <a:buClr>
                <a:srgbClr val="0070C0"/>
              </a:buClr>
              <a:buSzPct val="80000"/>
              <a:tabLst>
                <a:tab pos="136525" algn="l"/>
              </a:tabLst>
              <a:defRPr/>
            </a:pPr>
            <a:r>
              <a:rPr lang="vi-VN" altLang="vi-VN" sz="1600" spc="50">
                <a:ln w="1143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 với tiêu</a:t>
            </a:r>
          </a:p>
        </p:txBody>
      </p:sp>
      <p:sp>
        <p:nvSpPr>
          <p:cNvPr id="19" name="TextBox 37"/>
          <p:cNvSpPr txBox="1"/>
          <p:nvPr/>
        </p:nvSpPr>
        <p:spPr>
          <a:xfrm>
            <a:off x="1271464" y="5175673"/>
            <a:ext cx="9649072" cy="313772"/>
          </a:xfrm>
          <a:prstGeom prst="rect">
            <a:avLst/>
          </a:prstGeom>
          <a:noFill/>
        </p:spPr>
        <p:txBody>
          <a:bodyPr wrap="square" rtlCol="0">
            <a:normAutofit/>
          </a:bodyPr>
          <a:lstStyle/>
          <a:p>
            <a:pPr algn="ctr">
              <a:lnSpc>
                <a:spcPct val="112000"/>
              </a:lnSpc>
            </a:pPr>
            <a:r>
              <a:rPr lang="vi-VN" altLang="vi-VN" sz="1335" spc="-1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 với tiêu đề và nhất quán với phong cách ngôn ngữ tổng thể.</a:t>
            </a:r>
          </a:p>
        </p:txBody>
      </p:sp>
      <p:sp>
        <p:nvSpPr>
          <p:cNvPr id="20" name="TextBox 38"/>
          <p:cNvSpPr txBox="1"/>
          <p:nvPr/>
        </p:nvSpPr>
        <p:spPr>
          <a:xfrm>
            <a:off x="4726289" y="4733485"/>
            <a:ext cx="2739423" cy="426720"/>
          </a:xfrm>
          <a:prstGeom prst="rect">
            <a:avLst/>
          </a:prstGeom>
          <a:noFill/>
        </p:spPr>
        <p:txBody>
          <a:bodyPr wrap="square" rtlCol="0">
            <a:normAutofit/>
          </a:bodyPr>
          <a:lstStyle/>
          <a:p>
            <a:pPr algn="ctr"/>
            <a:r>
              <a:rPr lang="vi-VN" altLang="vi-VN" sz="2200" spc="-10">
                <a:solidFill>
                  <a:schemeClr val="tx1">
                    <a:lumMod val="65000"/>
                    <a:lumOff val="35000"/>
                  </a:schemeClr>
                </a:solidFill>
                <a:latin typeface="Noto Sans"/>
                <a:ea typeface="Noto Sans"/>
                <a:cs typeface="+mn-ea"/>
                <a:sym typeface="Source Han Serif SC" panose="02020700000000000000" pitchFamily="18" charset="-122"/>
              </a:rPr>
              <a:t>Nội dung văn</a:t>
            </a: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900" decel="100000" fill="hold"/>
                                        <p:tgtEl>
                                          <p:spTgt spid="8"/>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8"/>
                                        </p:tgtEl>
                                        <p:attrNameLst>
                                          <p:attrName>ppt_y</p:attrName>
                                        </p:attrNameLst>
                                      </p:cBhvr>
                                      <p:tavLst>
                                        <p:tav tm="0">
                                          <p:val>
                                            <p:strVal val="#ppt_y-.03"/>
                                          </p:val>
                                        </p:tav>
                                        <p:tav tm="100000">
                                          <p:val>
                                            <p:strVal val="#ppt_y"/>
                                          </p:val>
                                        </p:tav>
                                      </p:tavLst>
                                    </p:anim>
                                  </p:childTnLst>
                                </p:cTn>
                              </p:par>
                            </p:childTnLst>
                          </p:cTn>
                        </p:par>
                        <p:par>
                          <p:cTn id="11" fill="hold" nodeType="afterGroup">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slide(fromBottom)">
                                      <p:cBhvr>
                                        <p:cTn id="14" dur="500"/>
                                        <p:tgtEl>
                                          <p:spTgt spid="9"/>
                                        </p:tgtEl>
                                      </p:cBhvr>
                                    </p:animEffect>
                                  </p:childTnLst>
                                </p:cTn>
                              </p:par>
                            </p:childTnLst>
                          </p:cTn>
                        </p:par>
                        <p:par>
                          <p:cTn id="15" fill="hold" nodeType="afterGroup">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slide(fromTop)">
                                      <p:cBhvr>
                                        <p:cTn id="18" dur="500"/>
                                        <p:tgtEl>
                                          <p:spTgt spid="3"/>
                                        </p:tgtEl>
                                      </p:cBhvr>
                                    </p:animEffect>
                                  </p:childTnLst>
                                </p:cTn>
                              </p:par>
                            </p:childTnLst>
                          </p:cTn>
                        </p:par>
                        <p:par>
                          <p:cTn id="19" fill="hold" nodeType="afterGroup">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slide(fromBottom)">
                                      <p:cBhvr>
                                        <p:cTn id="22" dur="500"/>
                                        <p:tgtEl>
                                          <p:spTgt spid="10"/>
                                        </p:tgtEl>
                                      </p:cBhvr>
                                    </p:animEffect>
                                  </p:childTnLst>
                                </p:cTn>
                              </p:par>
                            </p:childTnLst>
                          </p:cTn>
                        </p:par>
                        <p:par>
                          <p:cTn id="23" fill="hold" nodeType="afterGroup">
                            <p:stCondLst>
                              <p:cond delay="2500"/>
                            </p:stCondLst>
                            <p:childTnLst>
                              <p:par>
                                <p:cTn id="24" presetID="37" presetClass="entr" presetSubtype="0" fill="hold" grpId="0" nodeType="after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anim calcmode="lin" valueType="num">
                                      <p:cBhvr>
                                        <p:cTn id="27" dur="1000" fill="hold"/>
                                        <p:tgtEl>
                                          <p:spTgt spid="5"/>
                                        </p:tgtEl>
                                        <p:attrNameLst>
                                          <p:attrName>ppt_x</p:attrName>
                                        </p:attrNameLst>
                                      </p:cBhvr>
                                      <p:tavLst>
                                        <p:tav tm="0">
                                          <p:val>
                                            <p:strVal val="#ppt_x"/>
                                          </p:val>
                                        </p:tav>
                                        <p:tav tm="100000">
                                          <p:val>
                                            <p:strVal val="#ppt_x"/>
                                          </p:val>
                                        </p:tav>
                                      </p:tavLst>
                                    </p:anim>
                                    <p:anim calcmode="lin" valueType="num">
                                      <p:cBhvr>
                                        <p:cTn id="28" dur="900" decel="100000" fill="hold"/>
                                        <p:tgtEl>
                                          <p:spTgt spid="5"/>
                                        </p:tgtEl>
                                        <p:attrNameLst>
                                          <p:attrName>ppt_y</p:attrName>
                                        </p:attrNameLst>
                                      </p:cBhvr>
                                      <p:tavLst>
                                        <p:tav tm="0">
                                          <p:val>
                                            <p:strVal val="#ppt_y+1"/>
                                          </p:val>
                                        </p:tav>
                                        <p:tav tm="100000">
                                          <p:val>
                                            <p:strVal val="#ppt_y-.03"/>
                                          </p:val>
                                        </p:tav>
                                      </p:tavLst>
                                    </p:anim>
                                    <p:anim calcmode="lin" valueType="num">
                                      <p:cBhvr>
                                        <p:cTn id="29" dur="100" accel="100000" fill="hold">
                                          <p:stCondLst>
                                            <p:cond delay="900"/>
                                          </p:stCondLst>
                                        </p:cTn>
                                        <p:tgtEl>
                                          <p:spTgt spid="5"/>
                                        </p:tgtEl>
                                        <p:attrNameLst>
                                          <p:attrName>ppt_y</p:attrName>
                                        </p:attrNameLst>
                                      </p:cBhvr>
                                      <p:tavLst>
                                        <p:tav tm="0">
                                          <p:val>
                                            <p:strVal val="#ppt_y-.03"/>
                                          </p:val>
                                        </p:tav>
                                        <p:tav tm="100000">
                                          <p:val>
                                            <p:strVal val="#ppt_y"/>
                                          </p:val>
                                        </p:tav>
                                      </p:tavLst>
                                    </p:anim>
                                  </p:childTnLst>
                                </p:cTn>
                              </p:par>
                            </p:childTnLst>
                          </p:cTn>
                        </p:par>
                        <p:par>
                          <p:cTn id="30" fill="hold" nodeType="afterGroup">
                            <p:stCondLst>
                              <p:cond delay="3500"/>
                            </p:stCondLst>
                            <p:childTnLst>
                              <p:par>
                                <p:cTn id="31" presetID="12" presetClass="entr" presetSubtype="4" fill="hold" grpId="0" nodeType="after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slide(fromBottom)">
                                      <p:cBhvr>
                                        <p:cTn id="33" dur="500"/>
                                        <p:tgtEl>
                                          <p:spTgt spid="7"/>
                                        </p:tgtEl>
                                      </p:cBhvr>
                                    </p:animEffect>
                                  </p:childTnLst>
                                </p:cTn>
                              </p:par>
                            </p:childTnLst>
                          </p:cTn>
                        </p:par>
                        <p:par>
                          <p:cTn id="34" fill="hold" nodeType="afterGroup">
                            <p:stCondLst>
                              <p:cond delay="4000"/>
                            </p:stCondLst>
                            <p:childTnLst>
                              <p:par>
                                <p:cTn id="35" presetID="12" presetClass="entr" presetSubtype="1" fill="hold" grpId="0" nodeType="after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slide(fromTop)">
                                      <p:cBhvr>
                                        <p:cTn id="37" dur="500"/>
                                        <p:tgtEl>
                                          <p:spTgt spid="4"/>
                                        </p:tgtEl>
                                      </p:cBhvr>
                                    </p:animEffect>
                                  </p:childTnLst>
                                </p:cTn>
                              </p:par>
                            </p:childTnLst>
                          </p:cTn>
                        </p:par>
                        <p:par>
                          <p:cTn id="38" fill="hold" nodeType="afterGroup">
                            <p:stCondLst>
                              <p:cond delay="4500"/>
                            </p:stCondLst>
                            <p:childTnLst>
                              <p:par>
                                <p:cTn id="39" presetID="12" presetClass="entr" presetSubtype="4" fill="hold" grpId="0" nodeType="after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slide(fromBottom)">
                                      <p:cBhvr>
                                        <p:cTn id="41" dur="500"/>
                                        <p:tgtEl>
                                          <p:spTgt spid="12"/>
                                        </p:tgtEl>
                                      </p:cBhvr>
                                    </p:animEffect>
                                  </p:childTnLst>
                                </p:cTn>
                              </p:par>
                            </p:childTnLst>
                          </p:cTn>
                        </p:par>
                        <p:par>
                          <p:cTn id="42" fill="hold" nodeType="afterGroup">
                            <p:stCondLst>
                              <p:cond delay="5000"/>
                            </p:stCondLst>
                            <p:childTnLst>
                              <p:par>
                                <p:cTn id="43" presetID="37" presetClass="entr" presetSubtype="0" fill="hold" grpId="0" nodeType="after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1000"/>
                                        <p:tgtEl>
                                          <p:spTgt spid="15"/>
                                        </p:tgtEl>
                                      </p:cBhvr>
                                    </p:animEffect>
                                    <p:anim calcmode="lin" valueType="num">
                                      <p:cBhvr>
                                        <p:cTn id="46" dur="1000" fill="hold"/>
                                        <p:tgtEl>
                                          <p:spTgt spid="15"/>
                                        </p:tgtEl>
                                        <p:attrNameLst>
                                          <p:attrName>ppt_x</p:attrName>
                                        </p:attrNameLst>
                                      </p:cBhvr>
                                      <p:tavLst>
                                        <p:tav tm="0">
                                          <p:val>
                                            <p:strVal val="#ppt_x"/>
                                          </p:val>
                                        </p:tav>
                                        <p:tav tm="100000">
                                          <p:val>
                                            <p:strVal val="#ppt_x"/>
                                          </p:val>
                                        </p:tav>
                                      </p:tavLst>
                                    </p:anim>
                                    <p:anim calcmode="lin" valueType="num">
                                      <p:cBhvr>
                                        <p:cTn id="47" dur="900" decel="100000" fill="hold"/>
                                        <p:tgtEl>
                                          <p:spTgt spid="15"/>
                                        </p:tgtEl>
                                        <p:attrNameLst>
                                          <p:attrName>ppt_y</p:attrName>
                                        </p:attrNameLst>
                                      </p:cBhvr>
                                      <p:tavLst>
                                        <p:tav tm="0">
                                          <p:val>
                                            <p:strVal val="#ppt_y+1"/>
                                          </p:val>
                                        </p:tav>
                                        <p:tav tm="100000">
                                          <p:val>
                                            <p:strVal val="#ppt_y-.03"/>
                                          </p:val>
                                        </p:tav>
                                      </p:tavLst>
                                    </p:anim>
                                    <p:anim calcmode="lin" valueType="num">
                                      <p:cBhvr>
                                        <p:cTn id="48" dur="100" accel="100000" fill="hold">
                                          <p:stCondLst>
                                            <p:cond delay="900"/>
                                          </p:stCondLst>
                                        </p:cTn>
                                        <p:tgtEl>
                                          <p:spTgt spid="15"/>
                                        </p:tgtEl>
                                        <p:attrNameLst>
                                          <p:attrName>ppt_y</p:attrName>
                                        </p:attrNameLst>
                                      </p:cBhvr>
                                      <p:tavLst>
                                        <p:tav tm="0">
                                          <p:val>
                                            <p:strVal val="#ppt_y-.03"/>
                                          </p:val>
                                        </p:tav>
                                        <p:tav tm="100000">
                                          <p:val>
                                            <p:strVal val="#ppt_y"/>
                                          </p:val>
                                        </p:tav>
                                      </p:tavLst>
                                    </p:anim>
                                  </p:childTnLst>
                                </p:cTn>
                              </p:par>
                            </p:childTnLst>
                          </p:cTn>
                        </p:par>
                        <p:par>
                          <p:cTn id="49" fill="hold" nodeType="afterGroup">
                            <p:stCondLst>
                              <p:cond delay="6000"/>
                            </p:stCondLst>
                            <p:childTnLst>
                              <p:par>
                                <p:cTn id="50" presetID="12" presetClass="entr" presetSubtype="4" fill="hold" grpId="0" nodeType="after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slide(fromBottom)">
                                      <p:cBhvr>
                                        <p:cTn id="52" dur="500"/>
                                        <p:tgtEl>
                                          <p:spTgt spid="16"/>
                                        </p:tgtEl>
                                      </p:cBhvr>
                                    </p:animEffect>
                                  </p:childTnLst>
                                </p:cTn>
                              </p:par>
                            </p:childTnLst>
                          </p:cTn>
                        </p:par>
                        <p:par>
                          <p:cTn id="53" fill="hold" nodeType="afterGroup">
                            <p:stCondLst>
                              <p:cond delay="6500"/>
                            </p:stCondLst>
                            <p:childTnLst>
                              <p:par>
                                <p:cTn id="54" presetID="12" presetClass="entr" presetSubtype="1" fill="hold" grpId="0" nodeType="after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slide(fromTop)">
                                      <p:cBhvr>
                                        <p:cTn id="56" dur="500"/>
                                        <p:tgtEl>
                                          <p:spTgt spid="14"/>
                                        </p:tgtEl>
                                      </p:cBhvr>
                                    </p:animEffect>
                                  </p:childTnLst>
                                </p:cTn>
                              </p:par>
                            </p:childTnLst>
                          </p:cTn>
                        </p:par>
                        <p:par>
                          <p:cTn id="57" fill="hold" nodeType="afterGroup">
                            <p:stCondLst>
                              <p:cond delay="7000"/>
                            </p:stCondLst>
                            <p:childTnLst>
                              <p:par>
                                <p:cTn id="58" presetID="12" presetClass="entr" presetSubtype="4" fill="hold" grpId="0" nodeType="after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slide(fromBottom)">
                                      <p:cBhvr>
                                        <p:cTn id="60" dur="500"/>
                                        <p:tgtEl>
                                          <p:spTgt spid="17"/>
                                        </p:tgtEl>
                                      </p:cBhvr>
                                    </p:animEffect>
                                  </p:childTnLst>
                                </p:cTn>
                              </p:par>
                            </p:childTnLst>
                          </p:cTn>
                        </p:par>
                        <p:par>
                          <p:cTn id="61" fill="hold" nodeType="afterGroup">
                            <p:stCondLst>
                              <p:cond delay="7500"/>
                            </p:stCondLst>
                            <p:childTnLst>
                              <p:par>
                                <p:cTn id="62" presetID="42" presetClass="entr" presetSubtype="0" fill="hold" grpId="0"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500"/>
                                        <p:tgtEl>
                                          <p:spTgt spid="20"/>
                                        </p:tgtEl>
                                      </p:cBhvr>
                                    </p:animEffect>
                                    <p:anim calcmode="lin" valueType="num">
                                      <p:cBhvr>
                                        <p:cTn id="65" dur="500" fill="hold"/>
                                        <p:tgtEl>
                                          <p:spTgt spid="20"/>
                                        </p:tgtEl>
                                        <p:attrNameLst>
                                          <p:attrName>ppt_x</p:attrName>
                                        </p:attrNameLst>
                                      </p:cBhvr>
                                      <p:tavLst>
                                        <p:tav tm="0">
                                          <p:val>
                                            <p:strVal val="#ppt_x"/>
                                          </p:val>
                                        </p:tav>
                                        <p:tav tm="100000">
                                          <p:val>
                                            <p:strVal val="#ppt_x"/>
                                          </p:val>
                                        </p:tav>
                                      </p:tavLst>
                                    </p:anim>
                                    <p:anim calcmode="lin" valueType="num">
                                      <p:cBhvr>
                                        <p:cTn id="66" dur="500" fill="hold"/>
                                        <p:tgtEl>
                                          <p:spTgt spid="20"/>
                                        </p:tgtEl>
                                        <p:attrNameLst>
                                          <p:attrName>ppt_y</p:attrName>
                                        </p:attrNameLst>
                                      </p:cBhvr>
                                      <p:tavLst>
                                        <p:tav tm="0">
                                          <p:val>
                                            <p:strVal val="#ppt_y+.1"/>
                                          </p:val>
                                        </p:tav>
                                        <p:tav tm="100000">
                                          <p:val>
                                            <p:strVal val="#ppt_y"/>
                                          </p:val>
                                        </p:tav>
                                      </p:tavLst>
                                    </p:anim>
                                  </p:childTnLst>
                                </p:cTn>
                              </p:par>
                            </p:childTnLst>
                          </p:cTn>
                        </p:par>
                        <p:par>
                          <p:cTn id="67" fill="hold" nodeType="afterGroup">
                            <p:stCondLst>
                              <p:cond delay="8000"/>
                            </p:stCondLst>
                            <p:childTnLst>
                              <p:par>
                                <p:cTn id="68" presetID="42" presetClass="entr" presetSubtype="0" fill="hold" grpId="0" nodeType="after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fade">
                                      <p:cBhvr>
                                        <p:cTn id="70" dur="500"/>
                                        <p:tgtEl>
                                          <p:spTgt spid="19"/>
                                        </p:tgtEl>
                                      </p:cBhvr>
                                    </p:animEffect>
                                    <p:anim calcmode="lin" valueType="num">
                                      <p:cBhvr>
                                        <p:cTn id="71" dur="500" fill="hold"/>
                                        <p:tgtEl>
                                          <p:spTgt spid="19"/>
                                        </p:tgtEl>
                                        <p:attrNameLst>
                                          <p:attrName>ppt_x</p:attrName>
                                        </p:attrNameLst>
                                      </p:cBhvr>
                                      <p:tavLst>
                                        <p:tav tm="0">
                                          <p:val>
                                            <p:strVal val="#ppt_x"/>
                                          </p:val>
                                        </p:tav>
                                        <p:tav tm="100000">
                                          <p:val>
                                            <p:strVal val="#ppt_x"/>
                                          </p:val>
                                        </p:tav>
                                      </p:tavLst>
                                    </p:anim>
                                    <p:anim calcmode="lin" valueType="num">
                                      <p:cBhvr>
                                        <p:cTn id="72" dur="5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7" grpId="0"/>
      <p:bldP spid="8" grpId="0" animBg="1"/>
      <p:bldP spid="9" grpId="0"/>
      <p:bldP spid="10" grpId="0"/>
      <p:bldP spid="12" grpId="0"/>
      <p:bldP spid="14" grpId="0" animBg="1"/>
      <p:bldP spid="15" grpId="0" animBg="1"/>
      <p:bldP spid="16" grpId="0"/>
      <p:bldP spid="17" grpId="0"/>
      <p:bldP spid="19" grpId="0"/>
      <p:bldP spid="2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圆角矩形 5"/>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55" name="组合 54"/>
          <p:cNvGrpSpPr/>
          <p:nvPr/>
        </p:nvGrpSpPr>
        <p:grpSpPr>
          <a:xfrm>
            <a:off x="3845560" y="584836"/>
            <a:ext cx="4501515" cy="763138"/>
            <a:chOff x="-214879" y="1137968"/>
            <a:chExt cx="8607213" cy="763093"/>
          </a:xfrm>
        </p:grpSpPr>
        <p:sp>
          <p:nvSpPr>
            <p:cNvPr id="56" name="文本框 55"/>
            <p:cNvSpPr txBox="1"/>
            <p:nvPr/>
          </p:nvSpPr>
          <p:spPr>
            <a:xfrm>
              <a:off x="1679218" y="1137968"/>
              <a:ext cx="4817805" cy="426695"/>
            </a:xfrm>
            <a:prstGeom prst="rect">
              <a:avLst/>
            </a:prstGeom>
            <a:noFill/>
          </p:spPr>
          <p:txBody>
            <a:bodyPr wrap="square" rtlCol="0">
              <a:normAutofit/>
            </a:bodyPr>
            <a:lstStyle/>
            <a:p>
              <a:pPr algn="ctr"/>
              <a:r>
                <a:rPr lang="vi-VN" altLang="vi-VN" sz="2200">
                  <a:solidFill>
                    <a:srgbClr val="004195"/>
                  </a:solidFill>
                  <a:latin typeface="Noto Sans"/>
                  <a:ea typeface="Noto Sans"/>
                  <a:cs typeface="+mn-ea"/>
                  <a:sym typeface="Source Han Serif SC" panose="02020700000000000000" pitchFamily="18" charset="-122"/>
                </a:rPr>
                <a:t>Điều kiện vận</a:t>
              </a:r>
            </a:p>
          </p:txBody>
        </p:sp>
        <p:sp>
          <p:nvSpPr>
            <p:cNvPr id="57" name="文本框 56"/>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grpSp>
        <p:nvGrpSpPr>
          <p:cNvPr id="3" name="矩形 29"/>
          <p:cNvGrpSpPr>
            <a:grpSpLocks noChangeAspect="1"/>
          </p:cNvGrpSpPr>
          <p:nvPr/>
        </p:nvGrpSpPr>
        <p:grpSpPr>
          <a:xfrm>
            <a:off x="3638240" y="2756925"/>
            <a:ext cx="4974543" cy="2557100"/>
            <a:chOff x="2886074" y="1936024"/>
            <a:chExt cx="6410326" cy="3295145"/>
          </a:xfrm>
          <a:solidFill>
            <a:srgbClr val="004195"/>
          </a:solidFill>
        </p:grpSpPr>
        <p:sp>
          <p:nvSpPr>
            <p:cNvPr id="4" name="íṩľíḍè-Freeform: Shape 3"/>
            <p:cNvSpPr/>
            <p:nvPr/>
          </p:nvSpPr>
          <p:spPr>
            <a:xfrm>
              <a:off x="3352800" y="4509653"/>
              <a:ext cx="914400" cy="721516"/>
            </a:xfrm>
            <a:custGeom>
              <a:avLst/>
              <a:gdLst>
                <a:gd name="connsiteX0" fmla="*/ 914400 w 914400"/>
                <a:gd name="connsiteY0" fmla="*/ 0 h 721516"/>
                <a:gd name="connsiteX1" fmla="*/ 914400 w 914400"/>
                <a:gd name="connsiteY1" fmla="*/ 721516 h 721516"/>
                <a:gd name="connsiteX2" fmla="*/ 0 w 914400"/>
                <a:gd name="connsiteY2" fmla="*/ 721516 h 721516"/>
                <a:gd name="connsiteX3" fmla="*/ 806637 w 914400"/>
                <a:gd name="connsiteY3" fmla="*/ 115049 h 721516"/>
              </a:gdLst>
              <a:ahLst/>
              <a:cxnLst>
                <a:cxn ang="0">
                  <a:pos x="connsiteX0" y="connsiteY0"/>
                </a:cxn>
                <a:cxn ang="0">
                  <a:pos x="connsiteX1" y="connsiteY1"/>
                </a:cxn>
                <a:cxn ang="0">
                  <a:pos x="connsiteX2" y="connsiteY2"/>
                </a:cxn>
                <a:cxn ang="0">
                  <a:pos x="connsiteX3" y="connsiteY3"/>
                </a:cxn>
              </a:cxnLst>
              <a:rect l="l" t="t" r="r" b="b"/>
              <a:pathLst>
                <a:path w="914400" h="721516">
                  <a:moveTo>
                    <a:pt x="914400" y="0"/>
                  </a:moveTo>
                  <a:lnTo>
                    <a:pt x="914400" y="721516"/>
                  </a:lnTo>
                  <a:lnTo>
                    <a:pt x="0" y="721516"/>
                  </a:lnTo>
                  <a:cubicBezTo>
                    <a:pt x="319035" y="544894"/>
                    <a:pt x="582726" y="336725"/>
                    <a:pt x="806637" y="115049"/>
                  </a:cubicBezTo>
                  <a:close/>
                </a:path>
              </a:pathLst>
            </a:custGeom>
            <a:solidFill>
              <a:srgbClr val="004195">
                <a:alpha val="44000"/>
              </a:srgb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5" name="íṩľíḍè-Freeform: Shape 4"/>
            <p:cNvSpPr/>
            <p:nvPr/>
          </p:nvSpPr>
          <p:spPr>
            <a:xfrm>
              <a:off x="4267200" y="3227525"/>
              <a:ext cx="914400" cy="2003644"/>
            </a:xfrm>
            <a:custGeom>
              <a:avLst/>
              <a:gdLst>
                <a:gd name="connsiteX0" fmla="*/ 914400 w 914400"/>
                <a:gd name="connsiteY0" fmla="*/ 0 h 2003644"/>
                <a:gd name="connsiteX1" fmla="*/ 914400 w 914400"/>
                <a:gd name="connsiteY1" fmla="*/ 2003644 h 2003644"/>
                <a:gd name="connsiteX2" fmla="*/ 0 w 914400"/>
                <a:gd name="connsiteY2" fmla="*/ 2003644 h 2003644"/>
                <a:gd name="connsiteX3" fmla="*/ 0 w 914400"/>
                <a:gd name="connsiteY3" fmla="*/ 1282128 h 2003644"/>
                <a:gd name="connsiteX4" fmla="*/ 103466 w 914400"/>
                <a:gd name="connsiteY4" fmla="*/ 1171666 h 2003644"/>
                <a:gd name="connsiteX5" fmla="*/ 882888 w 914400"/>
                <a:gd name="connsiteY5" fmla="*/ 49346 h 200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 h="2003643">
                  <a:moveTo>
                    <a:pt x="914400" y="0"/>
                  </a:moveTo>
                  <a:lnTo>
                    <a:pt x="914400" y="2003644"/>
                  </a:lnTo>
                  <a:lnTo>
                    <a:pt x="0" y="2003644"/>
                  </a:lnTo>
                  <a:lnTo>
                    <a:pt x="0" y="1282128"/>
                  </a:lnTo>
                  <a:lnTo>
                    <a:pt x="103466" y="1171666"/>
                  </a:lnTo>
                  <a:cubicBezTo>
                    <a:pt x="435336" y="790538"/>
                    <a:pt x="671123" y="388593"/>
                    <a:pt x="882888" y="49346"/>
                  </a:cubicBezTo>
                  <a:close/>
                </a:path>
              </a:pathLst>
            </a:custGeom>
            <a:solidFill>
              <a:srgbClr val="0067CC"/>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矩形 29"/>
            <p:cNvSpPr/>
            <p:nvPr/>
          </p:nvSpPr>
          <p:spPr>
            <a:xfrm>
              <a:off x="5181600" y="2449869"/>
              <a:ext cx="914400" cy="2781300"/>
            </a:xfrm>
            <a:custGeom>
              <a:avLst/>
              <a:gdLst>
                <a:gd name="connsiteX0" fmla="*/ 914400 w 914400"/>
                <a:gd name="connsiteY0" fmla="*/ 0 h 2781300"/>
                <a:gd name="connsiteX1" fmla="*/ 914400 w 914400"/>
                <a:gd name="connsiteY1" fmla="*/ 2781300 h 2781300"/>
                <a:gd name="connsiteX2" fmla="*/ 0 w 914400"/>
                <a:gd name="connsiteY2" fmla="*/ 2781300 h 2781300"/>
                <a:gd name="connsiteX3" fmla="*/ 0 w 914400"/>
                <a:gd name="connsiteY3" fmla="*/ 777656 h 2781300"/>
                <a:gd name="connsiteX4" fmla="*/ 93241 w 914400"/>
                <a:gd name="connsiteY4" fmla="*/ 631646 h 2781300"/>
                <a:gd name="connsiteX5" fmla="*/ 914400 w 914400"/>
                <a:gd name="connsiteY5" fmla="*/ 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 h="2781300">
                  <a:moveTo>
                    <a:pt x="914400" y="0"/>
                  </a:moveTo>
                  <a:lnTo>
                    <a:pt x="914400" y="2781300"/>
                  </a:lnTo>
                  <a:lnTo>
                    <a:pt x="0" y="2781300"/>
                  </a:lnTo>
                  <a:lnTo>
                    <a:pt x="0" y="777656"/>
                  </a:lnTo>
                  <a:lnTo>
                    <a:pt x="93241" y="631646"/>
                  </a:lnTo>
                  <a:cubicBezTo>
                    <a:pt x="339289" y="258654"/>
                    <a:pt x="571500" y="0"/>
                    <a:pt x="914400" y="0"/>
                  </a:cubicBezTo>
                  <a:close/>
                </a:path>
              </a:pathLst>
            </a:custGeom>
            <a:solidFill>
              <a:srgbClr val="004195"/>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 name="矩形 29"/>
            <p:cNvSpPr/>
            <p:nvPr/>
          </p:nvSpPr>
          <p:spPr>
            <a:xfrm>
              <a:off x="6096000" y="2449869"/>
              <a:ext cx="914400" cy="2781300"/>
            </a:xfrm>
            <a:custGeom>
              <a:avLst/>
              <a:gdLst>
                <a:gd name="connsiteX0" fmla="*/ 0 w 914400"/>
                <a:gd name="connsiteY0" fmla="*/ 0 h 2781300"/>
                <a:gd name="connsiteX1" fmla="*/ 821159 w 914400"/>
                <a:gd name="connsiteY1" fmla="*/ 631646 h 2781300"/>
                <a:gd name="connsiteX2" fmla="*/ 914400 w 914400"/>
                <a:gd name="connsiteY2" fmla="*/ 777656 h 2781300"/>
                <a:gd name="connsiteX3" fmla="*/ 914400 w 914400"/>
                <a:gd name="connsiteY3" fmla="*/ 2781300 h 2781300"/>
                <a:gd name="connsiteX4" fmla="*/ 0 w 914400"/>
                <a:gd name="connsiteY4" fmla="*/ 2781300 h 278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2781300">
                  <a:moveTo>
                    <a:pt x="0" y="0"/>
                  </a:moveTo>
                  <a:cubicBezTo>
                    <a:pt x="342900" y="0"/>
                    <a:pt x="575112" y="258654"/>
                    <a:pt x="821159" y="631646"/>
                  </a:cubicBezTo>
                  <a:lnTo>
                    <a:pt x="914400" y="777656"/>
                  </a:lnTo>
                  <a:lnTo>
                    <a:pt x="914400" y="2781300"/>
                  </a:lnTo>
                  <a:lnTo>
                    <a:pt x="0" y="2781300"/>
                  </a:lnTo>
                  <a:close/>
                </a:path>
              </a:pathLst>
            </a:custGeom>
            <a:solidFill>
              <a:srgbClr val="0067CC"/>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9" name="矩形 29"/>
            <p:cNvSpPr/>
            <p:nvPr/>
          </p:nvSpPr>
          <p:spPr>
            <a:xfrm>
              <a:off x="7010400" y="3227525"/>
              <a:ext cx="914400" cy="2003644"/>
            </a:xfrm>
            <a:custGeom>
              <a:avLst/>
              <a:gdLst>
                <a:gd name="connsiteX0" fmla="*/ 0 w 914400"/>
                <a:gd name="connsiteY0" fmla="*/ 0 h 2003644"/>
                <a:gd name="connsiteX1" fmla="*/ 31512 w 914400"/>
                <a:gd name="connsiteY1" fmla="*/ 49346 h 2003644"/>
                <a:gd name="connsiteX2" fmla="*/ 810934 w 914400"/>
                <a:gd name="connsiteY2" fmla="*/ 1171666 h 2003644"/>
                <a:gd name="connsiteX3" fmla="*/ 914400 w 914400"/>
                <a:gd name="connsiteY3" fmla="*/ 1282128 h 2003644"/>
                <a:gd name="connsiteX4" fmla="*/ 914400 w 914400"/>
                <a:gd name="connsiteY4" fmla="*/ 2003644 h 2003644"/>
                <a:gd name="connsiteX5" fmla="*/ 0 w 914400"/>
                <a:gd name="connsiteY5" fmla="*/ 2003644 h 200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 h="2003643">
                  <a:moveTo>
                    <a:pt x="0" y="0"/>
                  </a:moveTo>
                  <a:lnTo>
                    <a:pt x="31512" y="49346"/>
                  </a:lnTo>
                  <a:cubicBezTo>
                    <a:pt x="243278" y="388593"/>
                    <a:pt x="479064" y="790538"/>
                    <a:pt x="810934" y="1171666"/>
                  </a:cubicBezTo>
                  <a:lnTo>
                    <a:pt x="914400" y="1282128"/>
                  </a:lnTo>
                  <a:lnTo>
                    <a:pt x="914400" y="2003644"/>
                  </a:lnTo>
                  <a:lnTo>
                    <a:pt x="0" y="2003644"/>
                  </a:lnTo>
                  <a:close/>
                </a:path>
              </a:pathLst>
            </a:custGeom>
            <a:solidFill>
              <a:srgbClr val="004195"/>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0" name="矩形 29"/>
            <p:cNvSpPr/>
            <p:nvPr/>
          </p:nvSpPr>
          <p:spPr>
            <a:xfrm>
              <a:off x="7924800" y="4509653"/>
              <a:ext cx="914400" cy="721516"/>
            </a:xfrm>
            <a:custGeom>
              <a:avLst/>
              <a:gdLst>
                <a:gd name="connsiteX0" fmla="*/ 0 w 914400"/>
                <a:gd name="connsiteY0" fmla="*/ 0 h 721516"/>
                <a:gd name="connsiteX1" fmla="*/ 107763 w 914400"/>
                <a:gd name="connsiteY1" fmla="*/ 115049 h 721516"/>
                <a:gd name="connsiteX2" fmla="*/ 914400 w 914400"/>
                <a:gd name="connsiteY2" fmla="*/ 721516 h 721516"/>
                <a:gd name="connsiteX3" fmla="*/ 0 w 914400"/>
                <a:gd name="connsiteY3" fmla="*/ 721516 h 721516"/>
              </a:gdLst>
              <a:ahLst/>
              <a:cxnLst>
                <a:cxn ang="0">
                  <a:pos x="connsiteX0" y="connsiteY0"/>
                </a:cxn>
                <a:cxn ang="0">
                  <a:pos x="connsiteX1" y="connsiteY1"/>
                </a:cxn>
                <a:cxn ang="0">
                  <a:pos x="connsiteX2" y="connsiteY2"/>
                </a:cxn>
                <a:cxn ang="0">
                  <a:pos x="connsiteX3" y="connsiteY3"/>
                </a:cxn>
              </a:cxnLst>
              <a:rect l="l" t="t" r="r" b="b"/>
              <a:pathLst>
                <a:path w="914400" h="721516">
                  <a:moveTo>
                    <a:pt x="0" y="0"/>
                  </a:moveTo>
                  <a:lnTo>
                    <a:pt x="107763" y="115049"/>
                  </a:lnTo>
                  <a:cubicBezTo>
                    <a:pt x="331675" y="336725"/>
                    <a:pt x="595365" y="544894"/>
                    <a:pt x="914400" y="721516"/>
                  </a:cubicBezTo>
                  <a:lnTo>
                    <a:pt x="0" y="721516"/>
                  </a:lnTo>
                  <a:close/>
                </a:path>
              </a:pathLst>
            </a:custGeom>
            <a:solidFill>
              <a:srgbClr val="004195">
                <a:alpha val="44000"/>
              </a:srgb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1" name="矩形 29"/>
            <p:cNvSpPr/>
            <p:nvPr/>
          </p:nvSpPr>
          <p:spPr>
            <a:xfrm>
              <a:off x="8305799" y="4428690"/>
              <a:ext cx="161925" cy="161925"/>
            </a:xfrm>
            <a:prstGeom prst="ellipse">
              <a:avLst/>
            </a:prstGeom>
            <a:solidFill>
              <a:srgbClr val="0067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2" name="矩形 29"/>
            <p:cNvSpPr/>
            <p:nvPr/>
          </p:nvSpPr>
          <p:spPr>
            <a:xfrm>
              <a:off x="3733799" y="4428690"/>
              <a:ext cx="161925" cy="161925"/>
            </a:xfrm>
            <a:prstGeom prst="ellipse">
              <a:avLst/>
            </a:prstGeom>
            <a:solidFill>
              <a:srgbClr val="0067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3" name="矩形 29"/>
            <p:cNvSpPr/>
            <p:nvPr/>
          </p:nvSpPr>
          <p:spPr>
            <a:xfrm>
              <a:off x="4643438" y="3250835"/>
              <a:ext cx="161925" cy="161925"/>
            </a:xfrm>
            <a:prstGeom prst="ellipse">
              <a:avLst/>
            </a:prstGeom>
            <a:solidFill>
              <a:srgbClr val="0067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4" name="矩形 29"/>
            <p:cNvSpPr/>
            <p:nvPr/>
          </p:nvSpPr>
          <p:spPr>
            <a:xfrm>
              <a:off x="5557837" y="2211239"/>
              <a:ext cx="161925" cy="161925"/>
            </a:xfrm>
            <a:prstGeom prst="ellipse">
              <a:avLst/>
            </a:prstGeom>
            <a:solidFill>
              <a:srgbClr val="0067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5" name="矩形 29"/>
            <p:cNvSpPr/>
            <p:nvPr/>
          </p:nvSpPr>
          <p:spPr>
            <a:xfrm>
              <a:off x="6472237" y="2211239"/>
              <a:ext cx="161925" cy="161925"/>
            </a:xfrm>
            <a:prstGeom prst="ellipse">
              <a:avLst/>
            </a:prstGeom>
            <a:solidFill>
              <a:srgbClr val="0067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6" name="矩形 29"/>
            <p:cNvSpPr/>
            <p:nvPr/>
          </p:nvSpPr>
          <p:spPr>
            <a:xfrm>
              <a:off x="7386637" y="3250835"/>
              <a:ext cx="161925" cy="161925"/>
            </a:xfrm>
            <a:prstGeom prst="ellipse">
              <a:avLst/>
            </a:prstGeom>
            <a:solidFill>
              <a:srgbClr val="0067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lumMod val="85000"/>
                    <a:lumOff val="1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cxnSp>
          <p:nvCxnSpPr>
            <p:cNvPr id="17" name="矩形 29"/>
            <p:cNvCxnSpPr/>
            <p:nvPr/>
          </p:nvCxnSpPr>
          <p:spPr>
            <a:xfrm flipH="1">
              <a:off x="6553199" y="1964599"/>
              <a:ext cx="0" cy="182880"/>
            </a:xfrm>
            <a:prstGeom prst="line">
              <a:avLst/>
            </a:prstGeom>
            <a:grpFill/>
            <a:ln>
              <a:solidFill>
                <a:schemeClr val="bg2">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矩形 29"/>
            <p:cNvCxnSpPr/>
            <p:nvPr/>
          </p:nvCxnSpPr>
          <p:spPr>
            <a:xfrm flipH="1">
              <a:off x="5629273" y="1964599"/>
              <a:ext cx="0" cy="182880"/>
            </a:xfrm>
            <a:prstGeom prst="line">
              <a:avLst/>
            </a:prstGeom>
            <a:grpFill/>
            <a:ln>
              <a:solidFill>
                <a:schemeClr val="bg2">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矩形 29"/>
            <p:cNvCxnSpPr/>
            <p:nvPr/>
          </p:nvCxnSpPr>
          <p:spPr>
            <a:xfrm>
              <a:off x="6553198" y="1936024"/>
              <a:ext cx="2743202" cy="0"/>
            </a:xfrm>
            <a:prstGeom prst="line">
              <a:avLst/>
            </a:prstGeom>
            <a:grpFill/>
            <a:ln>
              <a:solidFill>
                <a:schemeClr val="bg2">
                  <a:lumMod val="65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0" name="矩形 29"/>
            <p:cNvCxnSpPr/>
            <p:nvPr/>
          </p:nvCxnSpPr>
          <p:spPr>
            <a:xfrm>
              <a:off x="2886074" y="1936024"/>
              <a:ext cx="2743199" cy="0"/>
            </a:xfrm>
            <a:prstGeom prst="line">
              <a:avLst/>
            </a:prstGeom>
            <a:grpFill/>
            <a:ln>
              <a:solidFill>
                <a:schemeClr val="bg2">
                  <a:lumMod val="65000"/>
                </a:schemeClr>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1" name="矩形 29"/>
            <p:cNvCxnSpPr/>
            <p:nvPr/>
          </p:nvCxnSpPr>
          <p:spPr>
            <a:xfrm flipH="1">
              <a:off x="7458073" y="2993299"/>
              <a:ext cx="0" cy="182880"/>
            </a:xfrm>
            <a:prstGeom prst="line">
              <a:avLst/>
            </a:prstGeom>
            <a:grpFill/>
            <a:ln>
              <a:solidFill>
                <a:schemeClr val="bg2">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矩形 29"/>
            <p:cNvCxnSpPr/>
            <p:nvPr/>
          </p:nvCxnSpPr>
          <p:spPr>
            <a:xfrm flipH="1">
              <a:off x="4714873" y="2993299"/>
              <a:ext cx="0" cy="182880"/>
            </a:xfrm>
            <a:prstGeom prst="line">
              <a:avLst/>
            </a:prstGeom>
            <a:grpFill/>
            <a:ln>
              <a:solidFill>
                <a:schemeClr val="bg2">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矩形 29"/>
            <p:cNvCxnSpPr/>
            <p:nvPr/>
          </p:nvCxnSpPr>
          <p:spPr>
            <a:xfrm>
              <a:off x="7467599" y="2979011"/>
              <a:ext cx="1828801" cy="0"/>
            </a:xfrm>
            <a:prstGeom prst="line">
              <a:avLst/>
            </a:prstGeom>
            <a:grpFill/>
            <a:ln>
              <a:solidFill>
                <a:schemeClr val="bg2">
                  <a:lumMod val="65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4" name="矩形 29"/>
            <p:cNvCxnSpPr/>
            <p:nvPr/>
          </p:nvCxnSpPr>
          <p:spPr>
            <a:xfrm>
              <a:off x="2886074" y="2979011"/>
              <a:ext cx="1828801" cy="0"/>
            </a:xfrm>
            <a:prstGeom prst="line">
              <a:avLst/>
            </a:prstGeom>
            <a:grpFill/>
            <a:ln>
              <a:solidFill>
                <a:schemeClr val="bg2">
                  <a:lumMod val="65000"/>
                </a:schemeClr>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5" name="矩形 29"/>
            <p:cNvCxnSpPr/>
            <p:nvPr/>
          </p:nvCxnSpPr>
          <p:spPr>
            <a:xfrm flipH="1">
              <a:off x="8382000" y="4181722"/>
              <a:ext cx="0" cy="182880"/>
            </a:xfrm>
            <a:prstGeom prst="line">
              <a:avLst/>
            </a:prstGeom>
            <a:grpFill/>
            <a:ln>
              <a:solidFill>
                <a:schemeClr val="bg2">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矩形 29"/>
            <p:cNvCxnSpPr/>
            <p:nvPr/>
          </p:nvCxnSpPr>
          <p:spPr>
            <a:xfrm flipH="1">
              <a:off x="3810000" y="4181722"/>
              <a:ext cx="0" cy="182880"/>
            </a:xfrm>
            <a:prstGeom prst="line">
              <a:avLst/>
            </a:prstGeom>
            <a:grpFill/>
            <a:ln>
              <a:solidFill>
                <a:schemeClr val="bg2">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矩形 29"/>
            <p:cNvCxnSpPr/>
            <p:nvPr/>
          </p:nvCxnSpPr>
          <p:spPr>
            <a:xfrm>
              <a:off x="8382000" y="4166333"/>
              <a:ext cx="914400" cy="0"/>
            </a:xfrm>
            <a:prstGeom prst="line">
              <a:avLst/>
            </a:prstGeom>
            <a:grpFill/>
            <a:ln>
              <a:solidFill>
                <a:schemeClr val="bg2">
                  <a:lumMod val="65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矩形 29"/>
            <p:cNvCxnSpPr/>
            <p:nvPr/>
          </p:nvCxnSpPr>
          <p:spPr>
            <a:xfrm>
              <a:off x="2886074" y="4166333"/>
              <a:ext cx="914400" cy="0"/>
            </a:xfrm>
            <a:prstGeom prst="line">
              <a:avLst/>
            </a:prstGeom>
            <a:grpFill/>
            <a:ln>
              <a:solidFill>
                <a:schemeClr val="bg2">
                  <a:lumMod val="65000"/>
                </a:schemeClr>
              </a:solidFill>
              <a:prstDash val="dash"/>
              <a:headEnd type="ova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8670840" y="2390699"/>
            <a:ext cx="2513727" cy="597779"/>
            <a:chOff x="7805426" y="3370233"/>
            <a:chExt cx="2513727" cy="597779"/>
          </a:xfrm>
        </p:grpSpPr>
        <p:sp>
          <p:nvSpPr>
            <p:cNvPr id="30" name="矩形 29"/>
            <p:cNvSpPr/>
            <p:nvPr/>
          </p:nvSpPr>
          <p:spPr>
            <a:xfrm>
              <a:off x="7805426" y="3370233"/>
              <a:ext cx="2050552" cy="320040"/>
            </a:xfrm>
            <a:prstGeom prst="rect">
              <a:avLst/>
            </a:prstGeom>
            <a:noFill/>
          </p:spPr>
          <p:txBody>
            <a:bodyPr wrap="square">
              <a:normAutofit/>
              <a:scene3d>
                <a:camera prst="orthographicFront"/>
                <a:lightRig rig="threePt" dir="t"/>
              </a:scene3d>
              <a:sp3d contourW="12700"/>
            </a:bodyPr>
            <a:lstStyle/>
            <a:p>
              <a:pPr>
                <a:lnSpc>
                  <a:spcPct val="100000"/>
                </a:lnSpc>
              </a:pPr>
              <a:r>
                <a:rPr lang="vi-VN" altLang="vi-VN" sz="1500">
                  <a:solidFill>
                    <a:schemeClr val="tx1">
                      <a:lumMod val="85000"/>
                      <a:lumOff val="15000"/>
                    </a:schemeClr>
                  </a:solidFill>
                  <a:latin typeface="Noto Sans"/>
                  <a:ea typeface="Noto Sans"/>
                  <a:cs typeface="+mn-ea"/>
                  <a:sym typeface="Source Han Serif SC" panose="02020700000000000000" pitchFamily="18" charset="-122"/>
                </a:rPr>
                <a:t>Bấm để thêm</a:t>
              </a:r>
            </a:p>
          </p:txBody>
        </p:sp>
        <p:sp>
          <p:nvSpPr>
            <p:cNvPr id="31" name="矩形 30"/>
            <p:cNvSpPr/>
            <p:nvPr/>
          </p:nvSpPr>
          <p:spPr>
            <a:xfrm>
              <a:off x="7805426" y="3708933"/>
              <a:ext cx="2513727" cy="259080"/>
            </a:xfrm>
            <a:prstGeom prst="rect">
              <a:avLst/>
            </a:prstGeom>
            <a:noFill/>
          </p:spPr>
          <p:txBody>
            <a:bodyPr wrap="square">
              <a:normAutofit/>
              <a:scene3d>
                <a:camera prst="orthographicFront"/>
                <a:lightRig rig="threePt" dir="t"/>
              </a:scene3d>
              <a:sp3d contourW="12700"/>
            </a:bodyPr>
            <a:lstStyle/>
            <a:p>
              <a:pPr>
                <a:lnSpc>
                  <a:spcPct val="100000"/>
                </a:lnSpc>
              </a:pPr>
              <a:r>
                <a:rPr lang="vi-VN" altLang="vi-VN" sz="1100">
                  <a:solidFill>
                    <a:schemeClr val="tx1">
                      <a:lumMod val="85000"/>
                      <a:lumOff val="15000"/>
                    </a:schemeClr>
                  </a:solidFill>
                  <a:latin typeface="Noto Sans"/>
                  <a:ea typeface="Noto Sans"/>
                  <a:cs typeface="+mn-ea"/>
                  <a:sym typeface="Source Han Serif SC" panose="02020700000000000000" pitchFamily="18" charset="-122"/>
                </a:rPr>
                <a:t>Thêm nội dung văn bản chi tiết</a:t>
              </a:r>
            </a:p>
          </p:txBody>
        </p:sp>
      </p:grpSp>
      <p:grpSp>
        <p:nvGrpSpPr>
          <p:cNvPr id="32" name="组合 31"/>
          <p:cNvGrpSpPr/>
          <p:nvPr/>
        </p:nvGrpSpPr>
        <p:grpSpPr>
          <a:xfrm>
            <a:off x="8670840" y="3260278"/>
            <a:ext cx="2513727" cy="597778"/>
            <a:chOff x="7805426" y="3370235"/>
            <a:chExt cx="2513727" cy="597778"/>
          </a:xfrm>
        </p:grpSpPr>
        <p:sp>
          <p:nvSpPr>
            <p:cNvPr id="33" name="矩形 32"/>
            <p:cNvSpPr/>
            <p:nvPr/>
          </p:nvSpPr>
          <p:spPr>
            <a:xfrm>
              <a:off x="7805426" y="3370235"/>
              <a:ext cx="2050552" cy="320040"/>
            </a:xfrm>
            <a:prstGeom prst="rect">
              <a:avLst/>
            </a:prstGeom>
            <a:noFill/>
          </p:spPr>
          <p:txBody>
            <a:bodyPr wrap="square">
              <a:normAutofit/>
              <a:scene3d>
                <a:camera prst="orthographicFront"/>
                <a:lightRig rig="threePt" dir="t"/>
              </a:scene3d>
              <a:sp3d contourW="12700"/>
            </a:bodyPr>
            <a:lstStyle/>
            <a:p>
              <a:pPr>
                <a:lnSpc>
                  <a:spcPct val="100000"/>
                </a:lnSpc>
              </a:pPr>
              <a:r>
                <a:rPr lang="vi-VN" altLang="vi-VN" sz="1500">
                  <a:solidFill>
                    <a:schemeClr val="tx1">
                      <a:lumMod val="85000"/>
                      <a:lumOff val="15000"/>
                    </a:schemeClr>
                  </a:solidFill>
                  <a:latin typeface="Noto Sans"/>
                  <a:ea typeface="Noto Sans"/>
                  <a:cs typeface="+mn-ea"/>
                  <a:sym typeface="Source Han Serif SC" panose="02020700000000000000" pitchFamily="18" charset="-122"/>
                </a:rPr>
                <a:t>Bấm để thêm</a:t>
              </a:r>
            </a:p>
          </p:txBody>
        </p:sp>
        <p:sp>
          <p:nvSpPr>
            <p:cNvPr id="34" name="矩形 33"/>
            <p:cNvSpPr/>
            <p:nvPr/>
          </p:nvSpPr>
          <p:spPr>
            <a:xfrm>
              <a:off x="7805426" y="3708933"/>
              <a:ext cx="2513727" cy="259080"/>
            </a:xfrm>
            <a:prstGeom prst="rect">
              <a:avLst/>
            </a:prstGeom>
            <a:noFill/>
          </p:spPr>
          <p:txBody>
            <a:bodyPr wrap="square">
              <a:normAutofit/>
              <a:scene3d>
                <a:camera prst="orthographicFront"/>
                <a:lightRig rig="threePt" dir="t"/>
              </a:scene3d>
              <a:sp3d contourW="12700"/>
            </a:bodyPr>
            <a:lstStyle/>
            <a:p>
              <a:pPr>
                <a:lnSpc>
                  <a:spcPct val="100000"/>
                </a:lnSpc>
              </a:pPr>
              <a:r>
                <a:rPr lang="vi-VN" altLang="vi-VN" sz="1100">
                  <a:solidFill>
                    <a:schemeClr val="tx1">
                      <a:lumMod val="85000"/>
                      <a:lumOff val="15000"/>
                    </a:schemeClr>
                  </a:solidFill>
                  <a:latin typeface="Noto Sans"/>
                  <a:ea typeface="Noto Sans"/>
                  <a:cs typeface="+mn-ea"/>
                  <a:sym typeface="Source Han Serif SC" panose="02020700000000000000" pitchFamily="18" charset="-122"/>
                </a:rPr>
                <a:t>Thêm nội dung văn bản chi tiết</a:t>
              </a:r>
            </a:p>
          </p:txBody>
        </p:sp>
      </p:grpSp>
      <p:grpSp>
        <p:nvGrpSpPr>
          <p:cNvPr id="35" name="组合 34"/>
          <p:cNvGrpSpPr/>
          <p:nvPr/>
        </p:nvGrpSpPr>
        <p:grpSpPr>
          <a:xfrm>
            <a:off x="8670840" y="4166380"/>
            <a:ext cx="2513727" cy="597777"/>
            <a:chOff x="7805426" y="3370235"/>
            <a:chExt cx="2513727" cy="597777"/>
          </a:xfrm>
        </p:grpSpPr>
        <p:sp>
          <p:nvSpPr>
            <p:cNvPr id="36" name="矩形 35"/>
            <p:cNvSpPr/>
            <p:nvPr/>
          </p:nvSpPr>
          <p:spPr>
            <a:xfrm>
              <a:off x="7805426" y="3370235"/>
              <a:ext cx="2050552" cy="320040"/>
            </a:xfrm>
            <a:prstGeom prst="rect">
              <a:avLst/>
            </a:prstGeom>
            <a:noFill/>
          </p:spPr>
          <p:txBody>
            <a:bodyPr wrap="square">
              <a:normAutofit/>
              <a:scene3d>
                <a:camera prst="orthographicFront"/>
                <a:lightRig rig="threePt" dir="t"/>
              </a:scene3d>
              <a:sp3d contourW="12700"/>
            </a:bodyPr>
            <a:lstStyle/>
            <a:p>
              <a:pPr>
                <a:lnSpc>
                  <a:spcPct val="100000"/>
                </a:lnSpc>
              </a:pPr>
              <a:r>
                <a:rPr lang="vi-VN" altLang="vi-VN" sz="1500">
                  <a:solidFill>
                    <a:schemeClr val="tx1">
                      <a:lumMod val="85000"/>
                      <a:lumOff val="15000"/>
                    </a:schemeClr>
                  </a:solidFill>
                  <a:latin typeface="Noto Sans"/>
                  <a:ea typeface="Noto Sans"/>
                  <a:cs typeface="+mn-ea"/>
                  <a:sym typeface="Source Han Serif SC" panose="02020700000000000000" pitchFamily="18" charset="-122"/>
                </a:rPr>
                <a:t>Bấm để thêm</a:t>
              </a:r>
            </a:p>
          </p:txBody>
        </p:sp>
        <p:sp>
          <p:nvSpPr>
            <p:cNvPr id="37" name="矩形 36"/>
            <p:cNvSpPr/>
            <p:nvPr/>
          </p:nvSpPr>
          <p:spPr>
            <a:xfrm>
              <a:off x="7805426" y="3708932"/>
              <a:ext cx="2513727" cy="259080"/>
            </a:xfrm>
            <a:prstGeom prst="rect">
              <a:avLst/>
            </a:prstGeom>
            <a:noFill/>
          </p:spPr>
          <p:txBody>
            <a:bodyPr wrap="square">
              <a:normAutofit/>
              <a:scene3d>
                <a:camera prst="orthographicFront"/>
                <a:lightRig rig="threePt" dir="t"/>
              </a:scene3d>
              <a:sp3d contourW="12700"/>
            </a:bodyPr>
            <a:lstStyle/>
            <a:p>
              <a:pPr>
                <a:lnSpc>
                  <a:spcPct val="100000"/>
                </a:lnSpc>
              </a:pPr>
              <a:r>
                <a:rPr lang="vi-VN" altLang="vi-VN" sz="1100">
                  <a:solidFill>
                    <a:schemeClr val="tx1">
                      <a:lumMod val="85000"/>
                      <a:lumOff val="15000"/>
                    </a:schemeClr>
                  </a:solidFill>
                  <a:latin typeface="Noto Sans"/>
                  <a:ea typeface="Noto Sans"/>
                  <a:cs typeface="+mn-ea"/>
                  <a:sym typeface="Source Han Serif SC" panose="02020700000000000000" pitchFamily="18" charset="-122"/>
                </a:rPr>
                <a:t>Thêm nội dung văn bản chi tiết</a:t>
              </a:r>
            </a:p>
          </p:txBody>
        </p:sp>
      </p:grpSp>
      <p:grpSp>
        <p:nvGrpSpPr>
          <p:cNvPr id="38" name="组合 37"/>
          <p:cNvGrpSpPr/>
          <p:nvPr/>
        </p:nvGrpSpPr>
        <p:grpSpPr>
          <a:xfrm>
            <a:off x="1089439" y="2390699"/>
            <a:ext cx="2513727" cy="597779"/>
            <a:chOff x="7805425" y="3370233"/>
            <a:chExt cx="2513727" cy="597779"/>
          </a:xfrm>
        </p:grpSpPr>
        <p:sp>
          <p:nvSpPr>
            <p:cNvPr id="39" name="矩形 38"/>
            <p:cNvSpPr/>
            <p:nvPr/>
          </p:nvSpPr>
          <p:spPr>
            <a:xfrm>
              <a:off x="8268600" y="3370233"/>
              <a:ext cx="2050552" cy="320040"/>
            </a:xfrm>
            <a:prstGeom prst="rect">
              <a:avLst/>
            </a:prstGeom>
            <a:noFill/>
          </p:spPr>
          <p:txBody>
            <a:bodyPr wrap="square">
              <a:normAutofit/>
              <a:scene3d>
                <a:camera prst="orthographicFront"/>
                <a:lightRig rig="threePt" dir="t"/>
              </a:scene3d>
              <a:sp3d contourW="12700"/>
            </a:bodyPr>
            <a:lstStyle/>
            <a:p>
              <a:pPr algn="r">
                <a:lnSpc>
                  <a:spcPct val="100000"/>
                </a:lnSpc>
              </a:pPr>
              <a:r>
                <a:rPr lang="vi-VN" altLang="vi-VN" sz="1500">
                  <a:solidFill>
                    <a:schemeClr val="tx1">
                      <a:lumMod val="85000"/>
                      <a:lumOff val="15000"/>
                    </a:schemeClr>
                  </a:solidFill>
                  <a:latin typeface="Noto Sans"/>
                  <a:ea typeface="Noto Sans"/>
                  <a:cs typeface="+mn-ea"/>
                  <a:sym typeface="Source Han Serif SC" panose="02020700000000000000" pitchFamily="18" charset="-122"/>
                </a:rPr>
                <a:t>Bấm để thêm</a:t>
              </a:r>
            </a:p>
          </p:txBody>
        </p:sp>
        <p:sp>
          <p:nvSpPr>
            <p:cNvPr id="40" name="矩形 39"/>
            <p:cNvSpPr/>
            <p:nvPr/>
          </p:nvSpPr>
          <p:spPr>
            <a:xfrm>
              <a:off x="7805425" y="3708933"/>
              <a:ext cx="2513727" cy="259080"/>
            </a:xfrm>
            <a:prstGeom prst="rect">
              <a:avLst/>
            </a:prstGeom>
            <a:noFill/>
          </p:spPr>
          <p:txBody>
            <a:bodyPr wrap="square">
              <a:normAutofit/>
              <a:scene3d>
                <a:camera prst="orthographicFront"/>
                <a:lightRig rig="threePt" dir="t"/>
              </a:scene3d>
              <a:sp3d contourW="12700"/>
            </a:bodyPr>
            <a:lstStyle/>
            <a:p>
              <a:pPr algn="r">
                <a:lnSpc>
                  <a:spcPct val="100000"/>
                </a:lnSpc>
              </a:pPr>
              <a:r>
                <a:rPr lang="vi-VN" altLang="vi-VN" sz="1100">
                  <a:solidFill>
                    <a:schemeClr val="tx1">
                      <a:lumMod val="85000"/>
                      <a:lumOff val="15000"/>
                    </a:schemeClr>
                  </a:solidFill>
                  <a:latin typeface="Noto Sans"/>
                  <a:ea typeface="Noto Sans"/>
                  <a:cs typeface="+mn-ea"/>
                  <a:sym typeface="Source Han Serif SC" panose="02020700000000000000" pitchFamily="18" charset="-122"/>
                </a:rPr>
                <a:t>Thêm nội dung văn bản chi tiết</a:t>
              </a:r>
            </a:p>
          </p:txBody>
        </p:sp>
      </p:grpSp>
      <p:grpSp>
        <p:nvGrpSpPr>
          <p:cNvPr id="41" name="组合 40"/>
          <p:cNvGrpSpPr/>
          <p:nvPr/>
        </p:nvGrpSpPr>
        <p:grpSpPr>
          <a:xfrm>
            <a:off x="1089439" y="3260278"/>
            <a:ext cx="2513727" cy="597778"/>
            <a:chOff x="7805425" y="3370235"/>
            <a:chExt cx="2513727" cy="597778"/>
          </a:xfrm>
        </p:grpSpPr>
        <p:sp>
          <p:nvSpPr>
            <p:cNvPr id="42" name="矩形 41"/>
            <p:cNvSpPr/>
            <p:nvPr/>
          </p:nvSpPr>
          <p:spPr>
            <a:xfrm>
              <a:off x="8268600" y="3370235"/>
              <a:ext cx="2050552" cy="320040"/>
            </a:xfrm>
            <a:prstGeom prst="rect">
              <a:avLst/>
            </a:prstGeom>
            <a:noFill/>
          </p:spPr>
          <p:txBody>
            <a:bodyPr wrap="square">
              <a:normAutofit/>
              <a:scene3d>
                <a:camera prst="orthographicFront"/>
                <a:lightRig rig="threePt" dir="t"/>
              </a:scene3d>
              <a:sp3d contourW="12700"/>
            </a:bodyPr>
            <a:lstStyle/>
            <a:p>
              <a:pPr algn="r">
                <a:lnSpc>
                  <a:spcPct val="100000"/>
                </a:lnSpc>
              </a:pPr>
              <a:r>
                <a:rPr lang="vi-VN" altLang="vi-VN" sz="1500">
                  <a:solidFill>
                    <a:schemeClr val="tx1">
                      <a:lumMod val="85000"/>
                      <a:lumOff val="15000"/>
                    </a:schemeClr>
                  </a:solidFill>
                  <a:latin typeface="Noto Sans"/>
                  <a:ea typeface="Noto Sans"/>
                  <a:cs typeface="+mn-ea"/>
                  <a:sym typeface="Source Han Serif SC" panose="02020700000000000000" pitchFamily="18" charset="-122"/>
                </a:rPr>
                <a:t>Bấm để thêm</a:t>
              </a:r>
            </a:p>
          </p:txBody>
        </p:sp>
        <p:sp>
          <p:nvSpPr>
            <p:cNvPr id="43" name="矩形 42"/>
            <p:cNvSpPr/>
            <p:nvPr/>
          </p:nvSpPr>
          <p:spPr>
            <a:xfrm>
              <a:off x="7805425" y="3708933"/>
              <a:ext cx="2513727" cy="259080"/>
            </a:xfrm>
            <a:prstGeom prst="rect">
              <a:avLst/>
            </a:prstGeom>
            <a:noFill/>
          </p:spPr>
          <p:txBody>
            <a:bodyPr wrap="square">
              <a:normAutofit/>
              <a:scene3d>
                <a:camera prst="orthographicFront"/>
                <a:lightRig rig="threePt" dir="t"/>
              </a:scene3d>
              <a:sp3d contourW="12700"/>
            </a:bodyPr>
            <a:lstStyle/>
            <a:p>
              <a:pPr algn="r">
                <a:lnSpc>
                  <a:spcPct val="100000"/>
                </a:lnSpc>
              </a:pPr>
              <a:r>
                <a:rPr lang="vi-VN" altLang="vi-VN" sz="1100">
                  <a:solidFill>
                    <a:schemeClr val="tx1">
                      <a:lumMod val="85000"/>
                      <a:lumOff val="15000"/>
                    </a:schemeClr>
                  </a:solidFill>
                  <a:latin typeface="Noto Sans"/>
                  <a:ea typeface="Noto Sans"/>
                  <a:cs typeface="+mn-ea"/>
                  <a:sym typeface="Source Han Serif SC" panose="02020700000000000000" pitchFamily="18" charset="-122"/>
                </a:rPr>
                <a:t>Thêm nội dung văn bản chi tiết</a:t>
              </a:r>
            </a:p>
          </p:txBody>
        </p:sp>
      </p:grpSp>
      <p:grpSp>
        <p:nvGrpSpPr>
          <p:cNvPr id="44" name="组合 43"/>
          <p:cNvGrpSpPr/>
          <p:nvPr/>
        </p:nvGrpSpPr>
        <p:grpSpPr>
          <a:xfrm>
            <a:off x="1089437" y="4166379"/>
            <a:ext cx="2513728" cy="597776"/>
            <a:chOff x="7805425" y="3370235"/>
            <a:chExt cx="2513728" cy="597776"/>
          </a:xfrm>
        </p:grpSpPr>
        <p:sp>
          <p:nvSpPr>
            <p:cNvPr id="45" name="矩形 44"/>
            <p:cNvSpPr/>
            <p:nvPr/>
          </p:nvSpPr>
          <p:spPr>
            <a:xfrm>
              <a:off x="8268601" y="3370235"/>
              <a:ext cx="2050552" cy="320040"/>
            </a:xfrm>
            <a:prstGeom prst="rect">
              <a:avLst/>
            </a:prstGeom>
            <a:noFill/>
          </p:spPr>
          <p:txBody>
            <a:bodyPr wrap="square">
              <a:normAutofit/>
              <a:scene3d>
                <a:camera prst="orthographicFront"/>
                <a:lightRig rig="threePt" dir="t"/>
              </a:scene3d>
              <a:sp3d contourW="12700"/>
            </a:bodyPr>
            <a:lstStyle/>
            <a:p>
              <a:pPr algn="r">
                <a:lnSpc>
                  <a:spcPct val="100000"/>
                </a:lnSpc>
              </a:pPr>
              <a:r>
                <a:rPr lang="vi-VN" altLang="vi-VN" sz="1500">
                  <a:solidFill>
                    <a:schemeClr val="tx1">
                      <a:lumMod val="85000"/>
                      <a:lumOff val="15000"/>
                    </a:schemeClr>
                  </a:solidFill>
                  <a:latin typeface="Noto Sans"/>
                  <a:ea typeface="Noto Sans"/>
                  <a:cs typeface="+mn-ea"/>
                  <a:sym typeface="Source Han Serif SC" panose="02020700000000000000" pitchFamily="18" charset="-122"/>
                </a:rPr>
                <a:t>Bấm để thêm</a:t>
              </a:r>
            </a:p>
          </p:txBody>
        </p:sp>
        <p:sp>
          <p:nvSpPr>
            <p:cNvPr id="46" name="矩形 45"/>
            <p:cNvSpPr/>
            <p:nvPr/>
          </p:nvSpPr>
          <p:spPr>
            <a:xfrm>
              <a:off x="7805425" y="3708931"/>
              <a:ext cx="2513727" cy="259080"/>
            </a:xfrm>
            <a:prstGeom prst="rect">
              <a:avLst/>
            </a:prstGeom>
            <a:noFill/>
          </p:spPr>
          <p:txBody>
            <a:bodyPr wrap="square">
              <a:normAutofit/>
              <a:scene3d>
                <a:camera prst="orthographicFront"/>
                <a:lightRig rig="threePt" dir="t"/>
              </a:scene3d>
              <a:sp3d contourW="12700"/>
            </a:bodyPr>
            <a:lstStyle/>
            <a:p>
              <a:pPr algn="r">
                <a:lnSpc>
                  <a:spcPct val="100000"/>
                </a:lnSpc>
              </a:pPr>
              <a:r>
                <a:rPr lang="vi-VN" altLang="vi-VN" sz="1100">
                  <a:solidFill>
                    <a:schemeClr val="tx1">
                      <a:lumMod val="85000"/>
                      <a:lumOff val="15000"/>
                    </a:schemeClr>
                  </a:solidFill>
                  <a:latin typeface="Noto Sans"/>
                  <a:ea typeface="Noto Sans"/>
                  <a:cs typeface="+mn-ea"/>
                  <a:sym typeface="Source Han Serif SC" panose="02020700000000000000" pitchFamily="18" charset="-122"/>
                </a:rPr>
                <a:t>Thêm nội dung văn bản chi tiết</a:t>
              </a:r>
            </a:p>
          </p:txBody>
        </p:sp>
      </p:gr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 presetClass="entr" presetSubtype="2" fill="hold" nodeType="after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1+#ppt_w/2"/>
                                          </p:val>
                                        </p:tav>
                                        <p:tav tm="100000">
                                          <p:val>
                                            <p:strVal val="#ppt_x"/>
                                          </p:val>
                                        </p:tav>
                                      </p:tavLst>
                                    </p:anim>
                                    <p:anim calcmode="lin" valueType="num">
                                      <p:cBhvr additive="base">
                                        <p:cTn id="14" dur="500" fill="hold"/>
                                        <p:tgtEl>
                                          <p:spTgt spid="29"/>
                                        </p:tgtEl>
                                        <p:attrNameLst>
                                          <p:attrName>ppt_y</p:attrName>
                                        </p:attrNameLst>
                                      </p:cBhvr>
                                      <p:tavLst>
                                        <p:tav tm="0">
                                          <p:val>
                                            <p:strVal val="#ppt_y"/>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fill="hold"/>
                                        <p:tgtEl>
                                          <p:spTgt spid="32"/>
                                        </p:tgtEl>
                                        <p:attrNameLst>
                                          <p:attrName>ppt_x</p:attrName>
                                        </p:attrNameLst>
                                      </p:cBhvr>
                                      <p:tavLst>
                                        <p:tav tm="0">
                                          <p:val>
                                            <p:strVal val="1+#ppt_w/2"/>
                                          </p:val>
                                        </p:tav>
                                        <p:tav tm="100000">
                                          <p:val>
                                            <p:strVal val="#ppt_x"/>
                                          </p:val>
                                        </p:tav>
                                      </p:tavLst>
                                    </p:anim>
                                    <p:anim calcmode="lin" valueType="num">
                                      <p:cBhvr additive="base">
                                        <p:cTn id="18" dur="500" fill="hold"/>
                                        <p:tgtEl>
                                          <p:spTgt spid="32"/>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anim calcmode="lin" valueType="num">
                                      <p:cBhvr additive="base">
                                        <p:cTn id="21" dur="500" fill="hold"/>
                                        <p:tgtEl>
                                          <p:spTgt spid="35"/>
                                        </p:tgtEl>
                                        <p:attrNameLst>
                                          <p:attrName>ppt_x</p:attrName>
                                        </p:attrNameLst>
                                      </p:cBhvr>
                                      <p:tavLst>
                                        <p:tav tm="0">
                                          <p:val>
                                            <p:strVal val="1+#ppt_w/2"/>
                                          </p:val>
                                        </p:tav>
                                        <p:tav tm="100000">
                                          <p:val>
                                            <p:strVal val="#ppt_x"/>
                                          </p:val>
                                        </p:tav>
                                      </p:tavLst>
                                    </p:anim>
                                    <p:anim calcmode="lin" valueType="num">
                                      <p:cBhvr additive="base">
                                        <p:cTn id="22" dur="500" fill="hold"/>
                                        <p:tgtEl>
                                          <p:spTgt spid="35"/>
                                        </p:tgtEl>
                                        <p:attrNameLst>
                                          <p:attrName>ppt_y</p:attrName>
                                        </p:attrNameLst>
                                      </p:cBhvr>
                                      <p:tavLst>
                                        <p:tav tm="0">
                                          <p:val>
                                            <p:strVal val="#ppt_y"/>
                                          </p:val>
                                        </p:tav>
                                        <p:tav tm="100000">
                                          <p:val>
                                            <p:strVal val="#ppt_y"/>
                                          </p:val>
                                        </p:tav>
                                      </p:tavLst>
                                    </p:anim>
                                  </p:childTnLst>
                                </p:cTn>
                              </p:par>
                              <p:par>
                                <p:cTn id="23" presetID="2" presetClass="entr" presetSubtype="8"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500" fill="hold"/>
                                        <p:tgtEl>
                                          <p:spTgt spid="38"/>
                                        </p:tgtEl>
                                        <p:attrNameLst>
                                          <p:attrName>ppt_x</p:attrName>
                                        </p:attrNameLst>
                                      </p:cBhvr>
                                      <p:tavLst>
                                        <p:tav tm="0">
                                          <p:val>
                                            <p:strVal val="0-#ppt_w/2"/>
                                          </p:val>
                                        </p:tav>
                                        <p:tav tm="100000">
                                          <p:val>
                                            <p:strVal val="#ppt_x"/>
                                          </p:val>
                                        </p:tav>
                                      </p:tavLst>
                                    </p:anim>
                                    <p:anim calcmode="lin" valueType="num">
                                      <p:cBhvr additive="base">
                                        <p:cTn id="26" dur="500" fill="hold"/>
                                        <p:tgtEl>
                                          <p:spTgt spid="38"/>
                                        </p:tgtEl>
                                        <p:attrNameLst>
                                          <p:attrName>ppt_y</p:attrName>
                                        </p:attrNameLst>
                                      </p:cBhvr>
                                      <p:tavLst>
                                        <p:tav tm="0">
                                          <p:val>
                                            <p:strVal val="#ppt_y"/>
                                          </p:val>
                                        </p:tav>
                                        <p:tav tm="100000">
                                          <p:val>
                                            <p:strVal val="#ppt_y"/>
                                          </p:val>
                                        </p:tav>
                                      </p:tavLst>
                                    </p:anim>
                                  </p:childTnLst>
                                </p:cTn>
                              </p:par>
                              <p:par>
                                <p:cTn id="27" presetID="2" presetClass="entr" presetSubtype="8" fill="hold" nodeType="withEffect">
                                  <p:stCondLst>
                                    <p:cond delay="0"/>
                                  </p:stCondLst>
                                  <p:childTnLst>
                                    <p:set>
                                      <p:cBhvr>
                                        <p:cTn id="28" dur="1" fill="hold">
                                          <p:stCondLst>
                                            <p:cond delay="0"/>
                                          </p:stCondLst>
                                        </p:cTn>
                                        <p:tgtEl>
                                          <p:spTgt spid="41"/>
                                        </p:tgtEl>
                                        <p:attrNameLst>
                                          <p:attrName>style.visibility</p:attrName>
                                        </p:attrNameLst>
                                      </p:cBhvr>
                                      <p:to>
                                        <p:strVal val="visible"/>
                                      </p:to>
                                    </p:set>
                                    <p:anim calcmode="lin" valueType="num">
                                      <p:cBhvr additive="base">
                                        <p:cTn id="29" dur="500" fill="hold"/>
                                        <p:tgtEl>
                                          <p:spTgt spid="41"/>
                                        </p:tgtEl>
                                        <p:attrNameLst>
                                          <p:attrName>ppt_x</p:attrName>
                                        </p:attrNameLst>
                                      </p:cBhvr>
                                      <p:tavLst>
                                        <p:tav tm="0">
                                          <p:val>
                                            <p:strVal val="0-#ppt_w/2"/>
                                          </p:val>
                                        </p:tav>
                                        <p:tav tm="100000">
                                          <p:val>
                                            <p:strVal val="#ppt_x"/>
                                          </p:val>
                                        </p:tav>
                                      </p:tavLst>
                                    </p:anim>
                                    <p:anim calcmode="lin" valueType="num">
                                      <p:cBhvr additive="base">
                                        <p:cTn id="30" dur="500" fill="hold"/>
                                        <p:tgtEl>
                                          <p:spTgt spid="41"/>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44"/>
                                        </p:tgtEl>
                                        <p:attrNameLst>
                                          <p:attrName>style.visibility</p:attrName>
                                        </p:attrNameLst>
                                      </p:cBhvr>
                                      <p:to>
                                        <p:strVal val="visible"/>
                                      </p:to>
                                    </p:set>
                                    <p:anim calcmode="lin" valueType="num">
                                      <p:cBhvr additive="base">
                                        <p:cTn id="33" dur="500" fill="hold"/>
                                        <p:tgtEl>
                                          <p:spTgt spid="44"/>
                                        </p:tgtEl>
                                        <p:attrNameLst>
                                          <p:attrName>ppt_x</p:attrName>
                                        </p:attrNameLst>
                                      </p:cBhvr>
                                      <p:tavLst>
                                        <p:tav tm="0">
                                          <p:val>
                                            <p:strVal val="0-#ppt_w/2"/>
                                          </p:val>
                                        </p:tav>
                                        <p:tav tm="100000">
                                          <p:val>
                                            <p:strVal val="#ppt_x"/>
                                          </p:val>
                                        </p:tav>
                                      </p:tavLst>
                                    </p:anim>
                                    <p:anim calcmode="lin" valueType="num">
                                      <p:cBhvr additive="base">
                                        <p:cTn id="34" dur="500" fill="hold"/>
                                        <p:tgtEl>
                                          <p:spTgt spid="4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AE4E4B28-5945-4126-AA3D-520CFA5E6002}"/>
              </a:ext>
            </a:extLst>
          </p:cNvPr>
          <p:cNvSpPr txBox="1"/>
          <p:nvPr/>
        </p:nvSpPr>
        <p:spPr>
          <a:xfrm>
            <a:off x="2289175" y="2099944"/>
            <a:ext cx="7969885" cy="1066800"/>
          </a:xfrm>
          <a:prstGeom prst="rect">
            <a:avLst/>
          </a:prstGeom>
          <a:noFill/>
        </p:spPr>
        <p:txBody>
          <a:bodyPr wrap="square" rtlCol="0">
            <a:normAutofit/>
          </a:bodyPr>
          <a:lstStyle/>
          <a:p>
            <a:pPr algn="dist"/>
            <a:r>
              <a:rPr lang="vi-VN" altLang="vi-VN" sz="6400" b="1">
                <a:solidFill>
                  <a:schemeClr val="accent2">
                    <a:alpha val="50000"/>
                  </a:schemeClr>
                </a:solidFill>
                <a:latin typeface="Noto Sans"/>
                <a:ea typeface="Noto Sans"/>
                <a:cs typeface="+mn-ea"/>
                <a:sym typeface="Source Han Serif SC" panose="02020700000000000000" pitchFamily="18" charset="-122"/>
              </a:rPr>
              <a:t>VIỆC KINH DOANH</a:t>
            </a:r>
          </a:p>
        </p:txBody>
      </p:sp>
      <p:sp>
        <p:nvSpPr>
          <p:cNvPr id="6" name="椭圆 5">
            <a:extLst>
              <a:ext uri="{FF2B5EF4-FFF2-40B4-BE49-F238E27FC236}">
                <a16:creationId xmlns:a16="http://schemas.microsoft.com/office/drawing/2014/main" id="{424A4456-7A21-4D99-8D76-920E114F0C27}"/>
              </a:ext>
            </a:extLst>
          </p:cNvPr>
          <p:cNvSpPr/>
          <p:nvPr/>
        </p:nvSpPr>
        <p:spPr>
          <a:xfrm>
            <a:off x="3243737" y="569502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椭圆 6">
            <a:extLst>
              <a:ext uri="{FF2B5EF4-FFF2-40B4-BE49-F238E27FC236}">
                <a16:creationId xmlns:a16="http://schemas.microsoft.com/office/drawing/2014/main" id="{C1328918-1532-4B58-BBCA-88FC8760A607}"/>
              </a:ext>
            </a:extLst>
          </p:cNvPr>
          <p:cNvSpPr/>
          <p:nvPr/>
        </p:nvSpPr>
        <p:spPr>
          <a:xfrm>
            <a:off x="566544" y="180845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 name="椭圆 7">
            <a:extLst>
              <a:ext uri="{FF2B5EF4-FFF2-40B4-BE49-F238E27FC236}">
                <a16:creationId xmlns:a16="http://schemas.microsoft.com/office/drawing/2014/main" id="{F4588B30-1918-4E8B-B335-B38801B72344}"/>
              </a:ext>
            </a:extLst>
          </p:cNvPr>
          <p:cNvSpPr/>
          <p:nvPr/>
        </p:nvSpPr>
        <p:spPr>
          <a:xfrm>
            <a:off x="10099832" y="4661880"/>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9" name="椭圆 8">
            <a:extLst>
              <a:ext uri="{FF2B5EF4-FFF2-40B4-BE49-F238E27FC236}">
                <a16:creationId xmlns:a16="http://schemas.microsoft.com/office/drawing/2014/main" id="{9F8AF6F0-3580-4867-AF68-8A69CB8B643C}"/>
              </a:ext>
            </a:extLst>
          </p:cNvPr>
          <p:cNvSpPr/>
          <p:nvPr/>
        </p:nvSpPr>
        <p:spPr>
          <a:xfrm>
            <a:off x="8865359" y="43050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0" name="文本框 19"/>
          <p:cNvSpPr txBox="1"/>
          <p:nvPr/>
        </p:nvSpPr>
        <p:spPr>
          <a:xfrm>
            <a:off x="3423285" y="2840355"/>
            <a:ext cx="5344795" cy="914400"/>
          </a:xfrm>
          <a:prstGeom prst="rect">
            <a:avLst/>
          </a:prstGeom>
          <a:noFill/>
        </p:spPr>
        <p:txBody>
          <a:bodyPr wrap="square" rtlCol="0">
            <a:normAutofit/>
          </a:bodyPr>
          <a:lstStyle/>
          <a:p>
            <a:pPr algn="ctr"/>
            <a:r>
              <a:rPr lang="vi-VN" altLang="vi-VN" sz="5400">
                <a:solidFill>
                  <a:schemeClr val="bg1"/>
                </a:solidFill>
                <a:latin typeface="Noto Sans"/>
                <a:ea typeface="Noto Sans"/>
                <a:cs typeface="+mn-ea"/>
                <a:sym typeface="Source Han Serif SC" panose="02020700000000000000" pitchFamily="18" charset="-122"/>
              </a:rPr>
              <a:t>Phân tích rủi</a:t>
            </a:r>
          </a:p>
        </p:txBody>
      </p:sp>
      <p:sp>
        <p:nvSpPr>
          <p:cNvPr id="21" name="文本框 20"/>
          <p:cNvSpPr txBox="1"/>
          <p:nvPr/>
        </p:nvSpPr>
        <p:spPr>
          <a:xfrm>
            <a:off x="3423285" y="4027805"/>
            <a:ext cx="5446395" cy="567017"/>
          </a:xfrm>
          <a:prstGeom prst="rect">
            <a:avLst/>
          </a:prstGeom>
          <a:noFill/>
        </p:spPr>
        <p:txBody>
          <a:bodyPr wrap="square">
            <a:normAutofit/>
          </a:bodyPr>
          <a:lstStyle/>
          <a:p>
            <a:pPr algn="ctr">
              <a:lnSpc>
                <a:spcPct val="120000"/>
              </a:lnSpc>
            </a:pPr>
            <a:r>
              <a:rPr lang="vi-VN" altLang="vi-VN" sz="1200">
                <a:solidFill>
                  <a:schemeClr val="bg1"/>
                </a:solidFill>
                <a:latin typeface="Noto Sans"/>
                <a:ea typeface="Noto Sans"/>
                <a:cs typeface="+mn-ea"/>
                <a:sym typeface="Source Han Serif SC" panose="02020700000000000000" pitchFamily="18" charset="-122"/>
              </a:rPr>
              <a:t>Ở đây bạn có thể mô tả chủ đề của phần Ở đây bạn có thể mô</a:t>
            </a:r>
          </a:p>
          <a:p>
            <a:pPr algn="ctr">
              <a:lnSpc>
                <a:spcPct val="150000"/>
              </a:lnSpc>
            </a:pPr>
            <a:endParaRPr lang="en-US" altLang="zh-CN" sz="1200">
              <a:solidFill>
                <a:schemeClr val="bg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3" name="文本框 42"/>
          <p:cNvSpPr txBox="1"/>
          <p:nvPr/>
        </p:nvSpPr>
        <p:spPr>
          <a:xfrm>
            <a:off x="3049108" y="1878567"/>
            <a:ext cx="6093228" cy="701040"/>
          </a:xfrm>
          <a:prstGeom prst="rect">
            <a:avLst/>
          </a:prstGeom>
          <a:noFill/>
        </p:spPr>
        <p:txBody>
          <a:bodyPr wrap="square">
            <a:normAutofit/>
          </a:bodyPr>
          <a:lstStyle/>
          <a:p>
            <a:pPr algn="ctr"/>
            <a:r>
              <a:rPr lang="vi-VN" altLang="vi-VN" sz="4000">
                <a:solidFill>
                  <a:schemeClr val="bg1"/>
                </a:solidFill>
                <a:latin typeface="Noto Sans"/>
                <a:ea typeface="Noto Sans"/>
                <a:cs typeface="+mn-ea"/>
                <a:sym typeface="Source Han Serif SC" panose="02020700000000000000" pitchFamily="18" charset="-122"/>
              </a:rPr>
              <a:t>PHẦN 03</a:t>
            </a: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55" name="组合 54"/>
          <p:cNvGrpSpPr/>
          <p:nvPr/>
        </p:nvGrpSpPr>
        <p:grpSpPr>
          <a:xfrm>
            <a:off x="3845560" y="584836"/>
            <a:ext cx="4501515" cy="763138"/>
            <a:chOff x="-214879" y="1137968"/>
            <a:chExt cx="8607213" cy="763093"/>
          </a:xfrm>
        </p:grpSpPr>
        <p:sp>
          <p:nvSpPr>
            <p:cNvPr id="56" name="文本框 55"/>
            <p:cNvSpPr txBox="1"/>
            <p:nvPr/>
          </p:nvSpPr>
          <p:spPr>
            <a:xfrm>
              <a:off x="1679218" y="1137968"/>
              <a:ext cx="4817805" cy="457173"/>
            </a:xfrm>
            <a:prstGeom prst="rect">
              <a:avLst/>
            </a:prstGeom>
            <a:noFill/>
          </p:spPr>
          <p:txBody>
            <a:bodyPr wrap="square" rtlCol="0">
              <a:normAutofit/>
            </a:bodyPr>
            <a:lstStyle/>
            <a:p>
              <a:pPr algn="ctr"/>
              <a:r>
                <a:rPr lang="vi-VN" altLang="vi-VN" sz="2400">
                  <a:solidFill>
                    <a:srgbClr val="004195"/>
                  </a:solidFill>
                  <a:latin typeface="Noto Sans"/>
                  <a:ea typeface="Noto Sans"/>
                  <a:cs typeface="+mn-ea"/>
                  <a:sym typeface="Source Han Serif SC" panose="02020700000000000000" pitchFamily="18" charset="-122"/>
                </a:rPr>
                <a:t>Phân tích rủi</a:t>
              </a:r>
            </a:p>
          </p:txBody>
        </p:sp>
        <p:sp>
          <p:nvSpPr>
            <p:cNvPr id="57" name="文本框 56"/>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grpSp>
        <p:nvGrpSpPr>
          <p:cNvPr id="34" name="组合 33"/>
          <p:cNvGrpSpPr/>
          <p:nvPr/>
        </p:nvGrpSpPr>
        <p:grpSpPr>
          <a:xfrm>
            <a:off x="1125855" y="1852550"/>
            <a:ext cx="9941560" cy="3784590"/>
            <a:chOff x="1344" y="2442"/>
            <a:chExt cx="16419" cy="7458"/>
          </a:xfrm>
        </p:grpSpPr>
        <p:sp>
          <p:nvSpPr>
            <p:cNvPr id="7" name="文本框 6"/>
            <p:cNvSpPr txBox="1"/>
            <p:nvPr/>
          </p:nvSpPr>
          <p:spPr>
            <a:xfrm>
              <a:off x="5622" y="7553"/>
              <a:ext cx="617" cy="1141"/>
            </a:xfrm>
            <a:prstGeom prst="rect">
              <a:avLst/>
            </a:prstGeom>
            <a:noFill/>
          </p:spPr>
          <p:txBody>
            <a:bodyPr wrap="square" rtlCol="0">
              <a:normAutofit lnSpcReduction="10000"/>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vi-VN" altLang="vi-VN" sz="32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B</a:t>
              </a:r>
            </a:p>
          </p:txBody>
        </p:sp>
        <p:sp>
          <p:nvSpPr>
            <p:cNvPr id="66" name="任意多边形: 形状 65"/>
            <p:cNvSpPr/>
            <p:nvPr/>
          </p:nvSpPr>
          <p:spPr>
            <a:xfrm rot="5400000" flipH="1">
              <a:off x="2096" y="4448"/>
              <a:ext cx="7458" cy="3447"/>
            </a:xfrm>
            <a:custGeom>
              <a:avLst/>
              <a:gdLst>
                <a:gd name="connsiteX0" fmla="*/ 2383629 w 4736144"/>
                <a:gd name="connsiteY0" fmla="*/ 1060392 h 2188698"/>
                <a:gd name="connsiteX1" fmla="*/ 2383037 w 4736144"/>
                <a:gd name="connsiteY1" fmla="*/ 1059290 h 2188698"/>
                <a:gd name="connsiteX2" fmla="*/ 2280700 w 4736144"/>
                <a:gd name="connsiteY2" fmla="*/ 1027432 h 2188698"/>
                <a:gd name="connsiteX3" fmla="*/ 2225485 w 4736144"/>
                <a:gd name="connsiteY3" fmla="*/ 1021489 h 2188698"/>
                <a:gd name="connsiteX4" fmla="*/ 2205205 w 4736144"/>
                <a:gd name="connsiteY4" fmla="*/ 820319 h 2188698"/>
                <a:gd name="connsiteX5" fmla="*/ 1198708 w 4736144"/>
                <a:gd name="connsiteY5" fmla="*/ 0 h 2188698"/>
                <a:gd name="connsiteX6" fmla="*/ 192211 w 4736144"/>
                <a:gd name="connsiteY6" fmla="*/ 820319 h 2188698"/>
                <a:gd name="connsiteX7" fmla="*/ 172169 w 4736144"/>
                <a:gd name="connsiteY7" fmla="*/ 1019131 h 2188698"/>
                <a:gd name="connsiteX8" fmla="*/ 102929 w 4736144"/>
                <a:gd name="connsiteY8" fmla="*/ 1026583 h 2188698"/>
                <a:gd name="connsiteX9" fmla="*/ 592 w 4736144"/>
                <a:gd name="connsiteY9" fmla="*/ 1058442 h 2188698"/>
                <a:gd name="connsiteX10" fmla="*/ 0 w 4736144"/>
                <a:gd name="connsiteY10" fmla="*/ 1059543 h 2188698"/>
                <a:gd name="connsiteX11" fmla="*/ 584775 w 4736144"/>
                <a:gd name="connsiteY11" fmla="*/ 1059543 h 2188698"/>
                <a:gd name="connsiteX12" fmla="*/ 584183 w 4736144"/>
                <a:gd name="connsiteY12" fmla="*/ 1058442 h 2188698"/>
                <a:gd name="connsiteX13" fmla="*/ 481845 w 4736144"/>
                <a:gd name="connsiteY13" fmla="*/ 1026583 h 2188698"/>
                <a:gd name="connsiteX14" fmla="*/ 411944 w 4736144"/>
                <a:gd name="connsiteY14" fmla="*/ 1019060 h 2188698"/>
                <a:gd name="connsiteX15" fmla="*/ 427107 w 4736144"/>
                <a:gd name="connsiteY15" fmla="*/ 868641 h 2188698"/>
                <a:gd name="connsiteX16" fmla="*/ 1198708 w 4736144"/>
                <a:gd name="connsiteY16" fmla="*/ 239768 h 2188698"/>
                <a:gd name="connsiteX17" fmla="*/ 1970309 w 4736144"/>
                <a:gd name="connsiteY17" fmla="*/ 868641 h 2188698"/>
                <a:gd name="connsiteX18" fmla="*/ 1985409 w 4736144"/>
                <a:gd name="connsiteY18" fmla="*/ 1018431 h 2188698"/>
                <a:gd name="connsiteX19" fmla="*/ 1901783 w 4736144"/>
                <a:gd name="connsiteY19" fmla="*/ 1027432 h 2188698"/>
                <a:gd name="connsiteX20" fmla="*/ 1799446 w 4736144"/>
                <a:gd name="connsiteY20" fmla="*/ 1059291 h 2188698"/>
                <a:gd name="connsiteX21" fmla="*/ 1798854 w 4736144"/>
                <a:gd name="connsiteY21" fmla="*/ 1060392 h 2188698"/>
                <a:gd name="connsiteX22" fmla="*/ 4736144 w 4736144"/>
                <a:gd name="connsiteY22" fmla="*/ 1119840 h 2188698"/>
                <a:gd name="connsiteX23" fmla="*/ 4151369 w 4736144"/>
                <a:gd name="connsiteY23" fmla="*/ 1119840 h 2188698"/>
                <a:gd name="connsiteX24" fmla="*/ 4151961 w 4736144"/>
                <a:gd name="connsiteY24" fmla="*/ 1120942 h 2188698"/>
                <a:gd name="connsiteX25" fmla="*/ 4254298 w 4736144"/>
                <a:gd name="connsiteY25" fmla="*/ 1152800 h 2188698"/>
                <a:gd name="connsiteX26" fmla="*/ 4338768 w 4736144"/>
                <a:gd name="connsiteY26" fmla="*/ 1161892 h 2188698"/>
                <a:gd name="connsiteX27" fmla="*/ 4322824 w 4736144"/>
                <a:gd name="connsiteY27" fmla="*/ 1320057 h 2188698"/>
                <a:gd name="connsiteX28" fmla="*/ 3551224 w 4736144"/>
                <a:gd name="connsiteY28" fmla="*/ 1948930 h 2188698"/>
                <a:gd name="connsiteX29" fmla="*/ 2763622 w 4736144"/>
                <a:gd name="connsiteY29" fmla="*/ 1161328 h 2188698"/>
                <a:gd name="connsiteX30" fmla="*/ 2762987 w 4736144"/>
                <a:gd name="connsiteY30" fmla="*/ 1161328 h 2188698"/>
                <a:gd name="connsiteX31" fmla="*/ 2834361 w 4736144"/>
                <a:gd name="connsiteY31" fmla="*/ 1153646 h 2188698"/>
                <a:gd name="connsiteX32" fmla="*/ 2936698 w 4736144"/>
                <a:gd name="connsiteY32" fmla="*/ 1121788 h 2188698"/>
                <a:gd name="connsiteX33" fmla="*/ 2937290 w 4736144"/>
                <a:gd name="connsiteY33" fmla="*/ 1120686 h 2188698"/>
                <a:gd name="connsiteX34" fmla="*/ 2352515 w 4736144"/>
                <a:gd name="connsiteY34" fmla="*/ 1120686 h 2188698"/>
                <a:gd name="connsiteX35" fmla="*/ 2353107 w 4736144"/>
                <a:gd name="connsiteY35" fmla="*/ 1121788 h 2188698"/>
                <a:gd name="connsiteX36" fmla="*/ 2455444 w 4736144"/>
                <a:gd name="connsiteY36" fmla="*/ 1153646 h 2188698"/>
                <a:gd name="connsiteX37" fmla="*/ 2526818 w 4736144"/>
                <a:gd name="connsiteY37" fmla="*/ 1161328 h 2188698"/>
                <a:gd name="connsiteX38" fmla="*/ 2523854 w 4736144"/>
                <a:gd name="connsiteY38" fmla="*/ 1161328 h 2188698"/>
                <a:gd name="connsiteX39" fmla="*/ 3551224 w 4736144"/>
                <a:gd name="connsiteY39" fmla="*/ 2188698 h 2188698"/>
                <a:gd name="connsiteX40" fmla="*/ 4578593 w 4736144"/>
                <a:gd name="connsiteY40" fmla="*/ 1161328 h 2188698"/>
                <a:gd name="connsiteX41" fmla="*/ 4553981 w 4736144"/>
                <a:gd name="connsiteY41" fmla="*/ 1161328 h 2188698"/>
                <a:gd name="connsiteX42" fmla="*/ 4633214 w 4736144"/>
                <a:gd name="connsiteY42" fmla="*/ 1152800 h 2188698"/>
                <a:gd name="connsiteX43" fmla="*/ 4735552 w 4736144"/>
                <a:gd name="connsiteY43" fmla="*/ 1120942 h 21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36144" h="2188698">
                  <a:moveTo>
                    <a:pt x="2383629" y="1060392"/>
                  </a:moveTo>
                  <a:lnTo>
                    <a:pt x="2383037" y="1059290"/>
                  </a:lnTo>
                  <a:cubicBezTo>
                    <a:pt x="2369151" y="1046558"/>
                    <a:pt x="2332185" y="1035404"/>
                    <a:pt x="2280700" y="1027432"/>
                  </a:cubicBezTo>
                  <a:lnTo>
                    <a:pt x="2225485" y="1021489"/>
                  </a:lnTo>
                  <a:lnTo>
                    <a:pt x="2205205" y="820319"/>
                  </a:lnTo>
                  <a:cubicBezTo>
                    <a:pt x="2109407" y="352164"/>
                    <a:pt x="1695184" y="0"/>
                    <a:pt x="1198708" y="0"/>
                  </a:cubicBezTo>
                  <a:cubicBezTo>
                    <a:pt x="702233" y="0"/>
                    <a:pt x="288010" y="352164"/>
                    <a:pt x="192211" y="820319"/>
                  </a:cubicBezTo>
                  <a:lnTo>
                    <a:pt x="172169" y="1019131"/>
                  </a:lnTo>
                  <a:lnTo>
                    <a:pt x="102929" y="1026583"/>
                  </a:lnTo>
                  <a:cubicBezTo>
                    <a:pt x="51444" y="1034555"/>
                    <a:pt x="14478" y="1045710"/>
                    <a:pt x="592" y="1058442"/>
                  </a:cubicBezTo>
                  <a:lnTo>
                    <a:pt x="0" y="1059543"/>
                  </a:lnTo>
                  <a:lnTo>
                    <a:pt x="584775" y="1059543"/>
                  </a:lnTo>
                  <a:lnTo>
                    <a:pt x="584183" y="1058442"/>
                  </a:lnTo>
                  <a:cubicBezTo>
                    <a:pt x="570296" y="1045710"/>
                    <a:pt x="533331" y="1034555"/>
                    <a:pt x="481845" y="1026583"/>
                  </a:cubicBezTo>
                  <a:lnTo>
                    <a:pt x="411944" y="1019060"/>
                  </a:lnTo>
                  <a:lnTo>
                    <a:pt x="427107" y="868641"/>
                  </a:lnTo>
                  <a:cubicBezTo>
                    <a:pt x="500548" y="509744"/>
                    <a:pt x="818100" y="239768"/>
                    <a:pt x="1198708" y="239768"/>
                  </a:cubicBezTo>
                  <a:cubicBezTo>
                    <a:pt x="1579316" y="239768"/>
                    <a:pt x="1896868" y="509744"/>
                    <a:pt x="1970309" y="868641"/>
                  </a:cubicBezTo>
                  <a:lnTo>
                    <a:pt x="1985409" y="1018431"/>
                  </a:lnTo>
                  <a:lnTo>
                    <a:pt x="1901783" y="1027432"/>
                  </a:lnTo>
                  <a:cubicBezTo>
                    <a:pt x="1850298" y="1035404"/>
                    <a:pt x="1813332" y="1046559"/>
                    <a:pt x="1799446" y="1059291"/>
                  </a:cubicBezTo>
                  <a:lnTo>
                    <a:pt x="1798854" y="1060392"/>
                  </a:lnTo>
                  <a:close/>
                  <a:moveTo>
                    <a:pt x="4736144" y="1119840"/>
                  </a:moveTo>
                  <a:lnTo>
                    <a:pt x="4151369" y="1119840"/>
                  </a:lnTo>
                  <a:lnTo>
                    <a:pt x="4151961" y="1120942"/>
                  </a:lnTo>
                  <a:cubicBezTo>
                    <a:pt x="4165847" y="1133674"/>
                    <a:pt x="4202813" y="1144828"/>
                    <a:pt x="4254298" y="1152800"/>
                  </a:cubicBezTo>
                  <a:lnTo>
                    <a:pt x="4338768" y="1161892"/>
                  </a:lnTo>
                  <a:lnTo>
                    <a:pt x="4322824" y="1320057"/>
                  </a:lnTo>
                  <a:cubicBezTo>
                    <a:pt x="4249383" y="1678955"/>
                    <a:pt x="3931831" y="1948930"/>
                    <a:pt x="3551224" y="1948930"/>
                  </a:cubicBezTo>
                  <a:cubicBezTo>
                    <a:pt x="3116243" y="1948930"/>
                    <a:pt x="2763622" y="1596309"/>
                    <a:pt x="2763622" y="1161328"/>
                  </a:cubicBezTo>
                  <a:lnTo>
                    <a:pt x="2762987" y="1161328"/>
                  </a:lnTo>
                  <a:lnTo>
                    <a:pt x="2834361" y="1153646"/>
                  </a:lnTo>
                  <a:cubicBezTo>
                    <a:pt x="2885846" y="1145674"/>
                    <a:pt x="2922812" y="1134519"/>
                    <a:pt x="2936698" y="1121788"/>
                  </a:cubicBezTo>
                  <a:lnTo>
                    <a:pt x="2937290" y="1120686"/>
                  </a:lnTo>
                  <a:lnTo>
                    <a:pt x="2352515" y="1120686"/>
                  </a:lnTo>
                  <a:lnTo>
                    <a:pt x="2353107" y="1121788"/>
                  </a:lnTo>
                  <a:cubicBezTo>
                    <a:pt x="2366994" y="1134519"/>
                    <a:pt x="2403959" y="1145674"/>
                    <a:pt x="2455444" y="1153646"/>
                  </a:cubicBezTo>
                  <a:lnTo>
                    <a:pt x="2526818" y="1161328"/>
                  </a:lnTo>
                  <a:lnTo>
                    <a:pt x="2523854" y="1161328"/>
                  </a:lnTo>
                  <a:cubicBezTo>
                    <a:pt x="2523854" y="1728729"/>
                    <a:pt x="2983823" y="2188698"/>
                    <a:pt x="3551224" y="2188698"/>
                  </a:cubicBezTo>
                  <a:cubicBezTo>
                    <a:pt x="4118624" y="2188698"/>
                    <a:pt x="4578593" y="1728729"/>
                    <a:pt x="4578593" y="1161328"/>
                  </a:cubicBezTo>
                  <a:lnTo>
                    <a:pt x="4553981" y="1161328"/>
                  </a:lnTo>
                  <a:lnTo>
                    <a:pt x="4633214" y="1152800"/>
                  </a:lnTo>
                  <a:cubicBezTo>
                    <a:pt x="4684700" y="1144828"/>
                    <a:pt x="4721665" y="1133674"/>
                    <a:pt x="4735552" y="1120942"/>
                  </a:cubicBezTo>
                  <a:close/>
                </a:path>
              </a:pathLst>
            </a:custGeom>
            <a:solidFill>
              <a:srgbClr val="0067CC"/>
            </a:solidFill>
            <a:ln>
              <a:noFill/>
            </a:ln>
            <a:effectLst>
              <a:outerShdw blurRad="50800" dist="63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3" name="文本框 12"/>
            <p:cNvSpPr txBox="1"/>
            <p:nvPr/>
          </p:nvSpPr>
          <p:spPr>
            <a:xfrm flipH="1">
              <a:off x="5411" y="3848"/>
              <a:ext cx="617" cy="841"/>
            </a:xfrm>
            <a:prstGeom prst="rect">
              <a:avLst/>
            </a:prstGeom>
            <a:noFill/>
          </p:spPr>
          <p:txBody>
            <a:bodyPr wrap="square" rtlCol="0">
              <a:norm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vi-VN" altLang="vi-VN" sz="11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MỘT</a:t>
              </a:r>
            </a:p>
          </p:txBody>
        </p:sp>
        <p:sp>
          <p:nvSpPr>
            <p:cNvPr id="22" name="文本框 21"/>
            <p:cNvSpPr txBox="1"/>
            <p:nvPr/>
          </p:nvSpPr>
          <p:spPr>
            <a:xfrm flipH="1">
              <a:off x="1344" y="7958"/>
              <a:ext cx="4383" cy="1675"/>
            </a:xfrm>
            <a:prstGeom prst="rect">
              <a:avLst/>
            </a:prstGeom>
            <a:noFill/>
          </p:spPr>
          <p:txBody>
            <a:bodyPr wrap="square" rtlCol="0">
              <a:normAutofit/>
            </a:bodyPr>
            <a:lstStyle/>
            <a:p>
              <a:pPr marL="0" marR="0" lvl="0" indent="0" algn="r" defTabSz="914400" rtl="0" eaLnBrk="1" fontAlgn="auto" latinLnBrk="0" hangingPunct="1">
                <a:lnSpc>
                  <a:spcPct val="120000"/>
                </a:lnSpc>
                <a:spcBef>
                  <a:spcPct val="0"/>
                </a:spcBef>
                <a:spcAft>
                  <a:spcPct val="0"/>
                </a:spcAft>
                <a:buClrTx/>
                <a:buSzTx/>
                <a:buFontTx/>
                <a:buNone/>
                <a:defRPr/>
              </a:pPr>
              <a:r>
                <a:rPr kumimoji="0" lang="vi-VN" altLang="vi-VN" sz="14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Bấm vào đây để nhập nội dung văn bản Bấm vào đây để nhập nội dung văn bản</a:t>
              </a:r>
            </a:p>
          </p:txBody>
        </p:sp>
        <p:sp>
          <p:nvSpPr>
            <p:cNvPr id="23" name="文本框 22"/>
            <p:cNvSpPr txBox="1"/>
            <p:nvPr/>
          </p:nvSpPr>
          <p:spPr>
            <a:xfrm>
              <a:off x="2749" y="7283"/>
              <a:ext cx="2978" cy="751"/>
            </a:xfrm>
            <a:prstGeom prst="rect">
              <a:avLst/>
            </a:prstGeom>
            <a:noFill/>
          </p:spPr>
          <p:txBody>
            <a:bodyPr wrap="square" rtlCol="0">
              <a:norm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vi-VN" altLang="vi-VN" sz="19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Thêm tiêu đề</a:t>
              </a:r>
            </a:p>
          </p:txBody>
        </p:sp>
        <p:sp>
          <p:nvSpPr>
            <p:cNvPr id="29" name="文本框 28"/>
            <p:cNvSpPr txBox="1"/>
            <p:nvPr/>
          </p:nvSpPr>
          <p:spPr>
            <a:xfrm>
              <a:off x="5895" y="3900"/>
              <a:ext cx="4383" cy="1675"/>
            </a:xfrm>
            <a:prstGeom prst="rect">
              <a:avLst/>
            </a:prstGeom>
            <a:noFill/>
          </p:spPr>
          <p:txBody>
            <a:bodyPr wrap="square" rtlCol="0">
              <a:normAutofit/>
            </a:bodyPr>
            <a:lstStyle/>
            <a:p>
              <a:pPr marL="0" marR="0" lvl="0" indent="0" algn="l" defTabSz="914400" rtl="0" eaLnBrk="1" fontAlgn="auto" latinLnBrk="0" hangingPunct="1">
                <a:lnSpc>
                  <a:spcPct val="120000"/>
                </a:lnSpc>
                <a:spcBef>
                  <a:spcPct val="0"/>
                </a:spcBef>
                <a:spcAft>
                  <a:spcPct val="0"/>
                </a:spcAft>
                <a:buClrTx/>
                <a:buSzTx/>
                <a:buFontTx/>
                <a:buNone/>
                <a:defRPr/>
              </a:pPr>
              <a:r>
                <a:rPr kumimoji="0" lang="vi-VN" altLang="vi-VN" sz="14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Bấm vào đây để nhập nội dung văn bản Bấm vào đây để nhập nội dung văn bản</a:t>
              </a:r>
            </a:p>
          </p:txBody>
        </p:sp>
        <p:sp>
          <p:nvSpPr>
            <p:cNvPr id="30" name="文本框 29"/>
            <p:cNvSpPr txBox="1"/>
            <p:nvPr/>
          </p:nvSpPr>
          <p:spPr>
            <a:xfrm flipH="1">
              <a:off x="5895" y="3225"/>
              <a:ext cx="2978" cy="751"/>
            </a:xfrm>
            <a:prstGeom prst="rect">
              <a:avLst/>
            </a:prstGeom>
            <a:noFill/>
          </p:spPr>
          <p:txBody>
            <a:bodyPr wrap="square" rtlCol="0">
              <a:norm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vi-VN" altLang="vi-VN" sz="19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Thêm tiêu đề</a:t>
              </a:r>
            </a:p>
          </p:txBody>
        </p:sp>
        <p:sp>
          <p:nvSpPr>
            <p:cNvPr id="46" name="文本框 45"/>
            <p:cNvSpPr txBox="1"/>
            <p:nvPr/>
          </p:nvSpPr>
          <p:spPr>
            <a:xfrm>
              <a:off x="13107" y="7553"/>
              <a:ext cx="617" cy="1141"/>
            </a:xfrm>
            <a:prstGeom prst="rect">
              <a:avLst/>
            </a:prstGeom>
            <a:noFill/>
          </p:spPr>
          <p:txBody>
            <a:bodyPr wrap="square" rtlCol="0">
              <a:normAutofit lnSpcReduction="10000"/>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vi-VN" altLang="vi-VN" sz="32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D</a:t>
              </a:r>
            </a:p>
          </p:txBody>
        </p:sp>
        <p:sp>
          <p:nvSpPr>
            <p:cNvPr id="43" name="文本框 42"/>
            <p:cNvSpPr txBox="1"/>
            <p:nvPr/>
          </p:nvSpPr>
          <p:spPr>
            <a:xfrm flipH="1">
              <a:off x="12896" y="3848"/>
              <a:ext cx="617" cy="1141"/>
            </a:xfrm>
            <a:prstGeom prst="rect">
              <a:avLst/>
            </a:prstGeom>
            <a:noFill/>
          </p:spPr>
          <p:txBody>
            <a:bodyPr wrap="square" rtlCol="0">
              <a:normAutofit lnSpcReduction="10000"/>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vi-VN" altLang="vi-VN" sz="32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C</a:t>
              </a:r>
            </a:p>
          </p:txBody>
        </p:sp>
        <p:sp>
          <p:nvSpPr>
            <p:cNvPr id="39" name="文本框 38"/>
            <p:cNvSpPr txBox="1"/>
            <p:nvPr/>
          </p:nvSpPr>
          <p:spPr>
            <a:xfrm flipH="1">
              <a:off x="8829" y="7958"/>
              <a:ext cx="4383" cy="1675"/>
            </a:xfrm>
            <a:prstGeom prst="rect">
              <a:avLst/>
            </a:prstGeom>
            <a:noFill/>
          </p:spPr>
          <p:txBody>
            <a:bodyPr wrap="square" rtlCol="0">
              <a:normAutofit/>
            </a:bodyPr>
            <a:lstStyle/>
            <a:p>
              <a:pPr marL="0" marR="0" lvl="0" indent="0" algn="r" defTabSz="914400" rtl="0" eaLnBrk="1" fontAlgn="auto" latinLnBrk="0" hangingPunct="1">
                <a:lnSpc>
                  <a:spcPct val="120000"/>
                </a:lnSpc>
                <a:spcBef>
                  <a:spcPct val="0"/>
                </a:spcBef>
                <a:spcAft>
                  <a:spcPct val="0"/>
                </a:spcAft>
                <a:buClrTx/>
                <a:buSzTx/>
                <a:buFontTx/>
                <a:buNone/>
                <a:defRPr/>
              </a:pPr>
              <a:r>
                <a:rPr kumimoji="0" lang="vi-VN" altLang="vi-VN" sz="14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Bấm vào đây để nhập nội dung văn bản Bấm vào đây để nhập nội dung văn bản</a:t>
              </a:r>
            </a:p>
          </p:txBody>
        </p:sp>
        <p:sp>
          <p:nvSpPr>
            <p:cNvPr id="40" name="文本框 39"/>
            <p:cNvSpPr txBox="1"/>
            <p:nvPr/>
          </p:nvSpPr>
          <p:spPr>
            <a:xfrm>
              <a:off x="10234" y="7283"/>
              <a:ext cx="2978" cy="751"/>
            </a:xfrm>
            <a:prstGeom prst="rect">
              <a:avLst/>
            </a:prstGeom>
            <a:noFill/>
          </p:spPr>
          <p:txBody>
            <a:bodyPr wrap="square" rtlCol="0">
              <a:norm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vi-VN" altLang="vi-VN" sz="19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Thêm tiêu đề</a:t>
              </a:r>
            </a:p>
          </p:txBody>
        </p:sp>
        <p:sp>
          <p:nvSpPr>
            <p:cNvPr id="37" name="文本框 36"/>
            <p:cNvSpPr txBox="1"/>
            <p:nvPr/>
          </p:nvSpPr>
          <p:spPr>
            <a:xfrm>
              <a:off x="13380" y="3900"/>
              <a:ext cx="4383" cy="1675"/>
            </a:xfrm>
            <a:prstGeom prst="rect">
              <a:avLst/>
            </a:prstGeom>
            <a:noFill/>
          </p:spPr>
          <p:txBody>
            <a:bodyPr wrap="square" rtlCol="0">
              <a:normAutofit/>
            </a:bodyPr>
            <a:lstStyle/>
            <a:p>
              <a:pPr marL="0" marR="0" lvl="0" indent="0" algn="l" defTabSz="914400" rtl="0" eaLnBrk="1" fontAlgn="auto" latinLnBrk="0" hangingPunct="1">
                <a:lnSpc>
                  <a:spcPct val="120000"/>
                </a:lnSpc>
                <a:spcBef>
                  <a:spcPct val="0"/>
                </a:spcBef>
                <a:spcAft>
                  <a:spcPct val="0"/>
                </a:spcAft>
                <a:buClrTx/>
                <a:buSzTx/>
                <a:buFontTx/>
                <a:buNone/>
                <a:defRPr/>
              </a:pPr>
              <a:r>
                <a:rPr kumimoji="0" lang="vi-VN" altLang="vi-VN" sz="14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Bấm vào đây để nhập nội dung văn bản Bấm vào đây để nhập nội dung văn bản</a:t>
              </a:r>
            </a:p>
          </p:txBody>
        </p:sp>
        <p:sp>
          <p:nvSpPr>
            <p:cNvPr id="38" name="文本框 37"/>
            <p:cNvSpPr txBox="1"/>
            <p:nvPr/>
          </p:nvSpPr>
          <p:spPr>
            <a:xfrm flipH="1">
              <a:off x="13380" y="3225"/>
              <a:ext cx="2978" cy="751"/>
            </a:xfrm>
            <a:prstGeom prst="rect">
              <a:avLst/>
            </a:prstGeom>
            <a:noFill/>
          </p:spPr>
          <p:txBody>
            <a:bodyPr wrap="square" rtlCol="0">
              <a:norm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vi-VN" altLang="vi-VN" sz="1900" b="0" i="0" u="none" strike="noStrike" kern="1200" cap="none" spc="0" normalizeH="0" baseline="0"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Thêm tiêu đề</a:t>
              </a:r>
            </a:p>
          </p:txBody>
        </p:sp>
        <p:sp>
          <p:nvSpPr>
            <p:cNvPr id="67" name="任意多边形: 形状 66"/>
            <p:cNvSpPr/>
            <p:nvPr/>
          </p:nvSpPr>
          <p:spPr>
            <a:xfrm rot="5400000" flipH="1">
              <a:off x="9476" y="4448"/>
              <a:ext cx="7458" cy="3447"/>
            </a:xfrm>
            <a:custGeom>
              <a:avLst/>
              <a:gdLst>
                <a:gd name="connsiteX0" fmla="*/ 2383629 w 4736144"/>
                <a:gd name="connsiteY0" fmla="*/ 1060392 h 2188698"/>
                <a:gd name="connsiteX1" fmla="*/ 2383037 w 4736144"/>
                <a:gd name="connsiteY1" fmla="*/ 1059290 h 2188698"/>
                <a:gd name="connsiteX2" fmla="*/ 2280700 w 4736144"/>
                <a:gd name="connsiteY2" fmla="*/ 1027432 h 2188698"/>
                <a:gd name="connsiteX3" fmla="*/ 2225485 w 4736144"/>
                <a:gd name="connsiteY3" fmla="*/ 1021489 h 2188698"/>
                <a:gd name="connsiteX4" fmla="*/ 2205205 w 4736144"/>
                <a:gd name="connsiteY4" fmla="*/ 820319 h 2188698"/>
                <a:gd name="connsiteX5" fmla="*/ 1198708 w 4736144"/>
                <a:gd name="connsiteY5" fmla="*/ 0 h 2188698"/>
                <a:gd name="connsiteX6" fmla="*/ 192211 w 4736144"/>
                <a:gd name="connsiteY6" fmla="*/ 820319 h 2188698"/>
                <a:gd name="connsiteX7" fmla="*/ 172169 w 4736144"/>
                <a:gd name="connsiteY7" fmla="*/ 1019131 h 2188698"/>
                <a:gd name="connsiteX8" fmla="*/ 102929 w 4736144"/>
                <a:gd name="connsiteY8" fmla="*/ 1026583 h 2188698"/>
                <a:gd name="connsiteX9" fmla="*/ 592 w 4736144"/>
                <a:gd name="connsiteY9" fmla="*/ 1058442 h 2188698"/>
                <a:gd name="connsiteX10" fmla="*/ 0 w 4736144"/>
                <a:gd name="connsiteY10" fmla="*/ 1059543 h 2188698"/>
                <a:gd name="connsiteX11" fmla="*/ 584775 w 4736144"/>
                <a:gd name="connsiteY11" fmla="*/ 1059543 h 2188698"/>
                <a:gd name="connsiteX12" fmla="*/ 584183 w 4736144"/>
                <a:gd name="connsiteY12" fmla="*/ 1058442 h 2188698"/>
                <a:gd name="connsiteX13" fmla="*/ 481845 w 4736144"/>
                <a:gd name="connsiteY13" fmla="*/ 1026583 h 2188698"/>
                <a:gd name="connsiteX14" fmla="*/ 411944 w 4736144"/>
                <a:gd name="connsiteY14" fmla="*/ 1019060 h 2188698"/>
                <a:gd name="connsiteX15" fmla="*/ 427107 w 4736144"/>
                <a:gd name="connsiteY15" fmla="*/ 868641 h 2188698"/>
                <a:gd name="connsiteX16" fmla="*/ 1198708 w 4736144"/>
                <a:gd name="connsiteY16" fmla="*/ 239768 h 2188698"/>
                <a:gd name="connsiteX17" fmla="*/ 1970309 w 4736144"/>
                <a:gd name="connsiteY17" fmla="*/ 868641 h 2188698"/>
                <a:gd name="connsiteX18" fmla="*/ 1985409 w 4736144"/>
                <a:gd name="connsiteY18" fmla="*/ 1018431 h 2188698"/>
                <a:gd name="connsiteX19" fmla="*/ 1901783 w 4736144"/>
                <a:gd name="connsiteY19" fmla="*/ 1027432 h 2188698"/>
                <a:gd name="connsiteX20" fmla="*/ 1799446 w 4736144"/>
                <a:gd name="connsiteY20" fmla="*/ 1059291 h 2188698"/>
                <a:gd name="connsiteX21" fmla="*/ 1798854 w 4736144"/>
                <a:gd name="connsiteY21" fmla="*/ 1060392 h 2188698"/>
                <a:gd name="connsiteX22" fmla="*/ 4736144 w 4736144"/>
                <a:gd name="connsiteY22" fmla="*/ 1119840 h 2188698"/>
                <a:gd name="connsiteX23" fmla="*/ 4151369 w 4736144"/>
                <a:gd name="connsiteY23" fmla="*/ 1119840 h 2188698"/>
                <a:gd name="connsiteX24" fmla="*/ 4151961 w 4736144"/>
                <a:gd name="connsiteY24" fmla="*/ 1120942 h 2188698"/>
                <a:gd name="connsiteX25" fmla="*/ 4254298 w 4736144"/>
                <a:gd name="connsiteY25" fmla="*/ 1152800 h 2188698"/>
                <a:gd name="connsiteX26" fmla="*/ 4338768 w 4736144"/>
                <a:gd name="connsiteY26" fmla="*/ 1161892 h 2188698"/>
                <a:gd name="connsiteX27" fmla="*/ 4322824 w 4736144"/>
                <a:gd name="connsiteY27" fmla="*/ 1320057 h 2188698"/>
                <a:gd name="connsiteX28" fmla="*/ 3551224 w 4736144"/>
                <a:gd name="connsiteY28" fmla="*/ 1948930 h 2188698"/>
                <a:gd name="connsiteX29" fmla="*/ 2763622 w 4736144"/>
                <a:gd name="connsiteY29" fmla="*/ 1161328 h 2188698"/>
                <a:gd name="connsiteX30" fmla="*/ 2762987 w 4736144"/>
                <a:gd name="connsiteY30" fmla="*/ 1161328 h 2188698"/>
                <a:gd name="connsiteX31" fmla="*/ 2834361 w 4736144"/>
                <a:gd name="connsiteY31" fmla="*/ 1153646 h 2188698"/>
                <a:gd name="connsiteX32" fmla="*/ 2936698 w 4736144"/>
                <a:gd name="connsiteY32" fmla="*/ 1121788 h 2188698"/>
                <a:gd name="connsiteX33" fmla="*/ 2937290 w 4736144"/>
                <a:gd name="connsiteY33" fmla="*/ 1120686 h 2188698"/>
                <a:gd name="connsiteX34" fmla="*/ 2352515 w 4736144"/>
                <a:gd name="connsiteY34" fmla="*/ 1120686 h 2188698"/>
                <a:gd name="connsiteX35" fmla="*/ 2353107 w 4736144"/>
                <a:gd name="connsiteY35" fmla="*/ 1121788 h 2188698"/>
                <a:gd name="connsiteX36" fmla="*/ 2455444 w 4736144"/>
                <a:gd name="connsiteY36" fmla="*/ 1153646 h 2188698"/>
                <a:gd name="connsiteX37" fmla="*/ 2526818 w 4736144"/>
                <a:gd name="connsiteY37" fmla="*/ 1161328 h 2188698"/>
                <a:gd name="connsiteX38" fmla="*/ 2523854 w 4736144"/>
                <a:gd name="connsiteY38" fmla="*/ 1161328 h 2188698"/>
                <a:gd name="connsiteX39" fmla="*/ 3551224 w 4736144"/>
                <a:gd name="connsiteY39" fmla="*/ 2188698 h 2188698"/>
                <a:gd name="connsiteX40" fmla="*/ 4578593 w 4736144"/>
                <a:gd name="connsiteY40" fmla="*/ 1161328 h 2188698"/>
                <a:gd name="connsiteX41" fmla="*/ 4553981 w 4736144"/>
                <a:gd name="connsiteY41" fmla="*/ 1161328 h 2188698"/>
                <a:gd name="connsiteX42" fmla="*/ 4633214 w 4736144"/>
                <a:gd name="connsiteY42" fmla="*/ 1152800 h 2188698"/>
                <a:gd name="connsiteX43" fmla="*/ 4735552 w 4736144"/>
                <a:gd name="connsiteY43" fmla="*/ 1120942 h 21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736144" h="2188698">
                  <a:moveTo>
                    <a:pt x="2383629" y="1060392"/>
                  </a:moveTo>
                  <a:lnTo>
                    <a:pt x="2383037" y="1059290"/>
                  </a:lnTo>
                  <a:cubicBezTo>
                    <a:pt x="2369151" y="1046558"/>
                    <a:pt x="2332185" y="1035404"/>
                    <a:pt x="2280700" y="1027432"/>
                  </a:cubicBezTo>
                  <a:lnTo>
                    <a:pt x="2225485" y="1021489"/>
                  </a:lnTo>
                  <a:lnTo>
                    <a:pt x="2205205" y="820319"/>
                  </a:lnTo>
                  <a:cubicBezTo>
                    <a:pt x="2109407" y="352164"/>
                    <a:pt x="1695184" y="0"/>
                    <a:pt x="1198708" y="0"/>
                  </a:cubicBezTo>
                  <a:cubicBezTo>
                    <a:pt x="702233" y="0"/>
                    <a:pt x="288010" y="352164"/>
                    <a:pt x="192211" y="820319"/>
                  </a:cubicBezTo>
                  <a:lnTo>
                    <a:pt x="172169" y="1019131"/>
                  </a:lnTo>
                  <a:lnTo>
                    <a:pt x="102929" y="1026583"/>
                  </a:lnTo>
                  <a:cubicBezTo>
                    <a:pt x="51444" y="1034555"/>
                    <a:pt x="14478" y="1045710"/>
                    <a:pt x="592" y="1058442"/>
                  </a:cubicBezTo>
                  <a:lnTo>
                    <a:pt x="0" y="1059543"/>
                  </a:lnTo>
                  <a:lnTo>
                    <a:pt x="584775" y="1059543"/>
                  </a:lnTo>
                  <a:lnTo>
                    <a:pt x="584183" y="1058442"/>
                  </a:lnTo>
                  <a:cubicBezTo>
                    <a:pt x="570296" y="1045710"/>
                    <a:pt x="533331" y="1034555"/>
                    <a:pt x="481845" y="1026583"/>
                  </a:cubicBezTo>
                  <a:lnTo>
                    <a:pt x="411944" y="1019060"/>
                  </a:lnTo>
                  <a:lnTo>
                    <a:pt x="427107" y="868641"/>
                  </a:lnTo>
                  <a:cubicBezTo>
                    <a:pt x="500548" y="509744"/>
                    <a:pt x="818100" y="239768"/>
                    <a:pt x="1198708" y="239768"/>
                  </a:cubicBezTo>
                  <a:cubicBezTo>
                    <a:pt x="1579316" y="239768"/>
                    <a:pt x="1896868" y="509744"/>
                    <a:pt x="1970309" y="868641"/>
                  </a:cubicBezTo>
                  <a:lnTo>
                    <a:pt x="1985409" y="1018431"/>
                  </a:lnTo>
                  <a:lnTo>
                    <a:pt x="1901783" y="1027432"/>
                  </a:lnTo>
                  <a:cubicBezTo>
                    <a:pt x="1850298" y="1035404"/>
                    <a:pt x="1813332" y="1046559"/>
                    <a:pt x="1799446" y="1059291"/>
                  </a:cubicBezTo>
                  <a:lnTo>
                    <a:pt x="1798854" y="1060392"/>
                  </a:lnTo>
                  <a:close/>
                  <a:moveTo>
                    <a:pt x="4736144" y="1119840"/>
                  </a:moveTo>
                  <a:lnTo>
                    <a:pt x="4151369" y="1119840"/>
                  </a:lnTo>
                  <a:lnTo>
                    <a:pt x="4151961" y="1120942"/>
                  </a:lnTo>
                  <a:cubicBezTo>
                    <a:pt x="4165847" y="1133674"/>
                    <a:pt x="4202813" y="1144828"/>
                    <a:pt x="4254298" y="1152800"/>
                  </a:cubicBezTo>
                  <a:lnTo>
                    <a:pt x="4338768" y="1161892"/>
                  </a:lnTo>
                  <a:lnTo>
                    <a:pt x="4322824" y="1320057"/>
                  </a:lnTo>
                  <a:cubicBezTo>
                    <a:pt x="4249383" y="1678955"/>
                    <a:pt x="3931831" y="1948930"/>
                    <a:pt x="3551224" y="1948930"/>
                  </a:cubicBezTo>
                  <a:cubicBezTo>
                    <a:pt x="3116243" y="1948930"/>
                    <a:pt x="2763622" y="1596309"/>
                    <a:pt x="2763622" y="1161328"/>
                  </a:cubicBezTo>
                  <a:lnTo>
                    <a:pt x="2762987" y="1161328"/>
                  </a:lnTo>
                  <a:lnTo>
                    <a:pt x="2834361" y="1153646"/>
                  </a:lnTo>
                  <a:cubicBezTo>
                    <a:pt x="2885846" y="1145674"/>
                    <a:pt x="2922812" y="1134519"/>
                    <a:pt x="2936698" y="1121788"/>
                  </a:cubicBezTo>
                  <a:lnTo>
                    <a:pt x="2937290" y="1120686"/>
                  </a:lnTo>
                  <a:lnTo>
                    <a:pt x="2352515" y="1120686"/>
                  </a:lnTo>
                  <a:lnTo>
                    <a:pt x="2353107" y="1121788"/>
                  </a:lnTo>
                  <a:cubicBezTo>
                    <a:pt x="2366994" y="1134519"/>
                    <a:pt x="2403959" y="1145674"/>
                    <a:pt x="2455444" y="1153646"/>
                  </a:cubicBezTo>
                  <a:lnTo>
                    <a:pt x="2526818" y="1161328"/>
                  </a:lnTo>
                  <a:lnTo>
                    <a:pt x="2523854" y="1161328"/>
                  </a:lnTo>
                  <a:cubicBezTo>
                    <a:pt x="2523854" y="1728729"/>
                    <a:pt x="2983823" y="2188698"/>
                    <a:pt x="3551224" y="2188698"/>
                  </a:cubicBezTo>
                  <a:cubicBezTo>
                    <a:pt x="4118624" y="2188698"/>
                    <a:pt x="4578593" y="1728729"/>
                    <a:pt x="4578593" y="1161328"/>
                  </a:cubicBezTo>
                  <a:lnTo>
                    <a:pt x="4553981" y="1161328"/>
                  </a:lnTo>
                  <a:lnTo>
                    <a:pt x="4633214" y="1152800"/>
                  </a:lnTo>
                  <a:cubicBezTo>
                    <a:pt x="4684700" y="1144828"/>
                    <a:pt x="4721665" y="1133674"/>
                    <a:pt x="4735552" y="1120942"/>
                  </a:cubicBezTo>
                  <a:close/>
                </a:path>
              </a:pathLst>
            </a:custGeom>
            <a:solidFill>
              <a:srgbClr val="004195"/>
            </a:solidFill>
            <a:ln>
              <a:noFill/>
            </a:ln>
            <a:effectLst>
              <a:outerShdw blurRad="50800" dist="63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stretch>
            <a:fillRect t="-3000" b="-3000"/>
          </a:stretch>
        </a:blipFill>
        <a:effectLst/>
      </p:bgPr>
    </p:bg>
    <p:spTree>
      <p:nvGrpSpPr>
        <p:cNvPr id="1" name=""/>
        <p:cNvGrpSpPr/>
        <p:nvPr/>
      </p:nvGrpSpPr>
      <p:grpSpPr>
        <a:xfrm>
          <a:off x="0" y="0"/>
          <a:ext cx="0" cy="0"/>
          <a:chOff x="0" y="0"/>
          <a:chExt cx="0" cy="0"/>
        </a:xfrm>
      </p:grpSpPr>
      <p:sp>
        <p:nvSpPr>
          <p:cNvPr id="6" name="圆角矩形 5"/>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55" name="组合 54"/>
          <p:cNvGrpSpPr/>
          <p:nvPr/>
        </p:nvGrpSpPr>
        <p:grpSpPr>
          <a:xfrm>
            <a:off x="3845560" y="584836"/>
            <a:ext cx="4501515" cy="763138"/>
            <a:chOff x="-214879" y="1137968"/>
            <a:chExt cx="8607213" cy="763093"/>
          </a:xfrm>
        </p:grpSpPr>
        <p:sp>
          <p:nvSpPr>
            <p:cNvPr id="56" name="文本框 55"/>
            <p:cNvSpPr txBox="1"/>
            <p:nvPr/>
          </p:nvSpPr>
          <p:spPr>
            <a:xfrm>
              <a:off x="1679218" y="1137968"/>
              <a:ext cx="4817805" cy="457173"/>
            </a:xfrm>
            <a:prstGeom prst="rect">
              <a:avLst/>
            </a:prstGeom>
            <a:noFill/>
          </p:spPr>
          <p:txBody>
            <a:bodyPr wrap="square" rtlCol="0">
              <a:normAutofit/>
            </a:bodyPr>
            <a:lstStyle/>
            <a:p>
              <a:pPr algn="ctr"/>
              <a:r>
                <a:rPr lang="vi-VN" altLang="vi-VN" sz="2400">
                  <a:solidFill>
                    <a:srgbClr val="004195"/>
                  </a:solidFill>
                  <a:latin typeface="Noto Sans"/>
                  <a:ea typeface="Noto Sans"/>
                  <a:cs typeface="+mn-ea"/>
                  <a:sym typeface="Source Han Serif SC" panose="02020700000000000000" pitchFamily="18" charset="-122"/>
                </a:rPr>
                <a:t>Phân tích rủi</a:t>
              </a:r>
            </a:p>
          </p:txBody>
        </p:sp>
        <p:sp>
          <p:nvSpPr>
            <p:cNvPr id="57" name="文本框 56"/>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sp>
        <p:nvSpPr>
          <p:cNvPr id="3" name="矩形 2"/>
          <p:cNvSpPr/>
          <p:nvPr/>
        </p:nvSpPr>
        <p:spPr>
          <a:xfrm>
            <a:off x="1391477" y="1700808"/>
            <a:ext cx="6062664" cy="3149600"/>
          </a:xfrm>
          <a:prstGeom prst="rect">
            <a:avLst/>
          </a:prstGeom>
          <a:blipFill rotWithShape="1">
            <a:blip r:embed="rId3"/>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 name="矩形 3"/>
          <p:cNvSpPr/>
          <p:nvPr/>
        </p:nvSpPr>
        <p:spPr>
          <a:xfrm>
            <a:off x="7617652" y="1700808"/>
            <a:ext cx="1503363" cy="1503363"/>
          </a:xfrm>
          <a:prstGeom prst="rect">
            <a:avLst/>
          </a:prstGeom>
          <a:solidFill>
            <a:srgbClr val="0041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p>
            <a:pPr algn="ctr"/>
            <a:r>
              <a:rPr lang="vi-VN" altLang="vi-VN" sz="3200">
                <a:solidFill>
                  <a:schemeClr val="bg1"/>
                </a:solidFill>
                <a:latin typeface="Noto Sans"/>
                <a:ea typeface="Noto Sans"/>
                <a:cs typeface="+mn-ea"/>
                <a:sym typeface="Source Han Serif SC" panose="02020700000000000000" pitchFamily="18" charset="-122"/>
              </a:rPr>
              <a:t>tiêu đề</a:t>
            </a:r>
          </a:p>
        </p:txBody>
      </p:sp>
      <p:sp>
        <p:nvSpPr>
          <p:cNvPr id="5" name="矩形 4"/>
          <p:cNvSpPr/>
          <p:nvPr/>
        </p:nvSpPr>
        <p:spPr>
          <a:xfrm>
            <a:off x="7617652" y="3347047"/>
            <a:ext cx="1503363" cy="1503363"/>
          </a:xfrm>
          <a:prstGeom prst="rect">
            <a:avLst/>
          </a:prstGeom>
          <a:solidFill>
            <a:srgbClr val="0067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p>
            <a:pPr algn="ctr">
              <a:lnSpc>
                <a:spcPct val="90000"/>
              </a:lnSpc>
              <a:spcBef>
                <a:spcPts val="750"/>
              </a:spcBef>
            </a:pPr>
            <a:r>
              <a:rPr lang="vi-VN" altLang="vi-VN" sz="3200">
                <a:solidFill>
                  <a:schemeClr val="bg1"/>
                </a:solidFill>
                <a:latin typeface="Noto Sans"/>
                <a:ea typeface="Noto Sans"/>
                <a:cs typeface="+mn-ea"/>
                <a:sym typeface="Source Han Serif SC" panose="02020700000000000000" pitchFamily="18" charset="-122"/>
              </a:rPr>
              <a:t>tiêu đề</a:t>
            </a:r>
          </a:p>
        </p:txBody>
      </p:sp>
      <p:sp>
        <p:nvSpPr>
          <p:cNvPr id="7" name="矩形 6"/>
          <p:cNvSpPr/>
          <p:nvPr/>
        </p:nvSpPr>
        <p:spPr>
          <a:xfrm>
            <a:off x="9284527" y="1700808"/>
            <a:ext cx="1503363" cy="1503363"/>
          </a:xfrm>
          <a:prstGeom prst="rect">
            <a:avLst/>
          </a:prstGeom>
          <a:solidFill>
            <a:srgbClr val="0067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p>
            <a:pPr algn="ctr">
              <a:lnSpc>
                <a:spcPct val="90000"/>
              </a:lnSpc>
              <a:spcBef>
                <a:spcPts val="750"/>
              </a:spcBef>
            </a:pPr>
            <a:r>
              <a:rPr lang="vi-VN" altLang="vi-VN" sz="3200">
                <a:solidFill>
                  <a:schemeClr val="bg1"/>
                </a:solidFill>
                <a:latin typeface="Noto Sans"/>
                <a:ea typeface="Noto Sans"/>
                <a:cs typeface="+mn-ea"/>
                <a:sym typeface="Source Han Serif SC" panose="02020700000000000000" pitchFamily="18" charset="-122"/>
              </a:rPr>
              <a:t>tiêu đề</a:t>
            </a:r>
          </a:p>
        </p:txBody>
      </p:sp>
      <p:sp>
        <p:nvSpPr>
          <p:cNvPr id="8" name="矩形 7"/>
          <p:cNvSpPr/>
          <p:nvPr/>
        </p:nvSpPr>
        <p:spPr>
          <a:xfrm>
            <a:off x="9284527" y="3347047"/>
            <a:ext cx="1503363" cy="1503363"/>
          </a:xfrm>
          <a:prstGeom prst="rect">
            <a:avLst/>
          </a:prstGeom>
          <a:solidFill>
            <a:srgbClr val="0041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p>
            <a:pPr algn="ctr"/>
            <a:r>
              <a:rPr lang="vi-VN" altLang="vi-VN" sz="3200">
                <a:solidFill>
                  <a:schemeClr val="bg1"/>
                </a:solidFill>
                <a:latin typeface="Noto Sans"/>
                <a:ea typeface="Noto Sans"/>
                <a:cs typeface="+mn-ea"/>
                <a:sym typeface="Source Han Serif SC" panose="02020700000000000000" pitchFamily="18" charset="-122"/>
              </a:rPr>
              <a:t>tiêu đề</a:t>
            </a:r>
          </a:p>
        </p:txBody>
      </p:sp>
      <p:sp>
        <p:nvSpPr>
          <p:cNvPr id="9" name="矩形 8"/>
          <p:cNvSpPr/>
          <p:nvPr/>
        </p:nvSpPr>
        <p:spPr>
          <a:xfrm>
            <a:off x="1282147" y="4993140"/>
            <a:ext cx="9627707" cy="463686"/>
          </a:xfrm>
          <a:prstGeom prst="rect">
            <a:avLst/>
          </a:prstGeom>
        </p:spPr>
        <p:txBody>
          <a:bodyPr wrap="square">
            <a:normAutofit/>
          </a:bodyPr>
          <a:lstStyle/>
          <a:p>
            <a:pPr algn="ctr">
              <a:lnSpc>
                <a:spcPct val="102000"/>
              </a:lnSpc>
            </a:pPr>
            <a:r>
              <a:rPr lang="vi-VN" altLang="vi-VN" sz="1200">
                <a:solidFill>
                  <a:schemeClr val="tx1">
                    <a:lumMod val="65000"/>
                    <a:lumOff val="35000"/>
                  </a:schemeClr>
                </a:solidFill>
                <a:latin typeface="Noto Sans"/>
                <a:ea typeface="Noto Sans"/>
                <a:cs typeface="+mn-ea"/>
                <a:sym typeface="Source Han Serif SC" panose="02020700000000000000" pitchFamily="18" charset="-122"/>
              </a:rPr>
              <a:t>Bấm vào để nhập nội dung văn bản ngắn gọn. Nội dung văn bản cần tóm tắt, súc tích, không sửa đổi văn bản thừa. Nội dung văn bản phải tóm tắt, súc tích, không sửa đổi văn bản thừa. Nội dung văn bản phải tóm tắt, súc tích, không sửa đổi văn bản thừa ...</a:t>
            </a: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500"/>
                                        <p:tgtEl>
                                          <p:spTgt spid="9"/>
                                        </p:tgtEl>
                                      </p:cBhvr>
                                    </p:animEffect>
                                  </p:childTnLst>
                                </p:cTn>
                              </p:par>
                              <p:par>
                                <p:cTn id="8" presetID="64" presetClass="path" presetSubtype="0" decel="100000" fill="hold" grpId="1" nodeType="withEffect">
                                  <p:stCondLst>
                                    <p:cond delay="300"/>
                                  </p:stCondLst>
                                  <p:childTnLst>
                                    <p:animMotion origin="layout" path="M 0 4.32099E-06 L 0 0.05" pathEditMode="relative" rAng="0" ptsTypes="AA">
                                      <p:cBhvr>
                                        <p:cTn id="9" dur="1500" spd="-100000" fill="hold"/>
                                        <p:tgtEl>
                                          <p:spTgt spid="9"/>
                                        </p:tgtEl>
                                        <p:attrNameLst>
                                          <p:attrName>ppt_x</p:attrName>
                                          <p:attrName>ppt_y</p:attrName>
                                        </p:attrNameLst>
                                      </p:cBhvr>
                                      <p:rCtr x="0" y="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圆角矩形 22"/>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55" name="组合 54"/>
          <p:cNvGrpSpPr/>
          <p:nvPr/>
        </p:nvGrpSpPr>
        <p:grpSpPr>
          <a:xfrm>
            <a:off x="3845560" y="584836"/>
            <a:ext cx="4501515" cy="763138"/>
            <a:chOff x="-214879" y="1137968"/>
            <a:chExt cx="8607213" cy="763093"/>
          </a:xfrm>
        </p:grpSpPr>
        <p:sp>
          <p:nvSpPr>
            <p:cNvPr id="56" name="文本框 55"/>
            <p:cNvSpPr txBox="1"/>
            <p:nvPr/>
          </p:nvSpPr>
          <p:spPr>
            <a:xfrm>
              <a:off x="1679218" y="1137968"/>
              <a:ext cx="4817805" cy="457173"/>
            </a:xfrm>
            <a:prstGeom prst="rect">
              <a:avLst/>
            </a:prstGeom>
            <a:noFill/>
          </p:spPr>
          <p:txBody>
            <a:bodyPr wrap="square" rtlCol="0">
              <a:normAutofit/>
            </a:bodyPr>
            <a:lstStyle/>
            <a:p>
              <a:pPr algn="ctr"/>
              <a:r>
                <a:rPr lang="vi-VN" altLang="vi-VN" sz="2400">
                  <a:solidFill>
                    <a:srgbClr val="004195"/>
                  </a:solidFill>
                  <a:latin typeface="Noto Sans"/>
                  <a:ea typeface="Noto Sans"/>
                  <a:cs typeface="+mn-ea"/>
                  <a:sym typeface="Source Han Serif SC" panose="02020700000000000000" pitchFamily="18" charset="-122"/>
                </a:rPr>
                <a:t>Phân tích rủi</a:t>
              </a:r>
            </a:p>
          </p:txBody>
        </p:sp>
        <p:sp>
          <p:nvSpPr>
            <p:cNvPr id="57" name="文本框 56"/>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grpSp>
        <p:nvGrpSpPr>
          <p:cNvPr id="12" name="组合 11"/>
          <p:cNvGrpSpPr/>
          <p:nvPr/>
        </p:nvGrpSpPr>
        <p:grpSpPr>
          <a:xfrm>
            <a:off x="4614371" y="2409082"/>
            <a:ext cx="2979146" cy="3427827"/>
            <a:chOff x="4582621" y="2351297"/>
            <a:chExt cx="2979146" cy="3427827"/>
          </a:xfrm>
          <a:solidFill>
            <a:srgbClr val="6893B9"/>
          </a:solidFill>
        </p:grpSpPr>
        <p:sp>
          <p:nvSpPr>
            <p:cNvPr id="4" name="任意多边形 3"/>
            <p:cNvSpPr/>
            <p:nvPr/>
          </p:nvSpPr>
          <p:spPr bwMode="auto">
            <a:xfrm rot="10800000">
              <a:off x="4898957" y="2593839"/>
              <a:ext cx="1638065" cy="535324"/>
            </a:xfrm>
            <a:custGeom>
              <a:avLst/>
              <a:gdLst>
                <a:gd name="connsiteX0" fmla="*/ 1161826 w 1638286"/>
                <a:gd name="connsiteY0" fmla="*/ 535324 h 535324"/>
                <a:gd name="connsiteX1" fmla="*/ 309069 w 1638286"/>
                <a:gd name="connsiteY1" fmla="*/ 535324 h 535324"/>
                <a:gd name="connsiteX2" fmla="*/ 0 w 1638286"/>
                <a:gd name="connsiteY2" fmla="*/ 0 h 535324"/>
                <a:gd name="connsiteX3" fmla="*/ 105173 w 1638286"/>
                <a:gd name="connsiteY3" fmla="*/ 0 h 535324"/>
                <a:gd name="connsiteX4" fmla="*/ 108430 w 1638286"/>
                <a:gd name="connsiteY4" fmla="*/ 524 h 535324"/>
                <a:gd name="connsiteX5" fmla="*/ 916509 w 1638286"/>
                <a:gd name="connsiteY5" fmla="*/ 524 h 535324"/>
                <a:gd name="connsiteX6" fmla="*/ 919811 w 1638286"/>
                <a:gd name="connsiteY6" fmla="*/ 0 h 535324"/>
                <a:gd name="connsiteX7" fmla="*/ 1638286 w 1638286"/>
                <a:gd name="connsiteY7" fmla="*/ 0 h 535324"/>
                <a:gd name="connsiteX8" fmla="*/ 1623613 w 1638286"/>
                <a:gd name="connsiteY8" fmla="*/ 25429 h 535324"/>
                <a:gd name="connsiteX9" fmla="*/ 1412461 w 1638286"/>
                <a:gd name="connsiteY9" fmla="*/ 391366 h 535324"/>
                <a:gd name="connsiteX10" fmla="*/ 1161826 w 1638286"/>
                <a:gd name="connsiteY10" fmla="*/ 535324 h 53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8286" h="535324">
                  <a:moveTo>
                    <a:pt x="1161826" y="535324"/>
                  </a:moveTo>
                  <a:lnTo>
                    <a:pt x="309069" y="535324"/>
                  </a:lnTo>
                  <a:lnTo>
                    <a:pt x="0" y="0"/>
                  </a:lnTo>
                  <a:lnTo>
                    <a:pt x="105173" y="0"/>
                  </a:lnTo>
                  <a:lnTo>
                    <a:pt x="108430" y="524"/>
                  </a:lnTo>
                  <a:lnTo>
                    <a:pt x="916509" y="524"/>
                  </a:lnTo>
                  <a:lnTo>
                    <a:pt x="919811" y="0"/>
                  </a:lnTo>
                  <a:lnTo>
                    <a:pt x="1638286" y="0"/>
                  </a:lnTo>
                  <a:lnTo>
                    <a:pt x="1623613" y="25429"/>
                  </a:lnTo>
                  <a:cubicBezTo>
                    <a:pt x="1412461" y="391366"/>
                    <a:pt x="1412461" y="391366"/>
                    <a:pt x="1412461" y="391366"/>
                  </a:cubicBezTo>
                  <a:cubicBezTo>
                    <a:pt x="1366047" y="470311"/>
                    <a:pt x="1254654" y="535324"/>
                    <a:pt x="1161826" y="535324"/>
                  </a:cubicBezTo>
                  <a:close/>
                </a:path>
              </a:pathLst>
            </a:custGeom>
            <a:solidFill>
              <a:srgbClr val="004195"/>
            </a:solidFill>
            <a:ln w="19050">
              <a:noFill/>
            </a:ln>
            <a:effectLst/>
          </p:spPr>
          <p:txBody>
            <a:bodyPr vert="horz" wrap="square" lIns="91431" tIns="45715" rIns="91431" bIns="45715" numCol="1" anchor="t" anchorCtr="0" compatLnSpc="1">
              <a:noAutofit/>
            </a:bodyPr>
            <a:lstStyle/>
            <a:p>
              <a:endParaRPr lang="zh-CN" altLang="en-US" sz="2400">
                <a:solidFill>
                  <a:prstClr val="black"/>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 name="任意多边形 7"/>
            <p:cNvSpPr/>
            <p:nvPr/>
          </p:nvSpPr>
          <p:spPr bwMode="auto">
            <a:xfrm rot="14400000">
              <a:off x="6110291" y="2902815"/>
              <a:ext cx="1638287" cy="535252"/>
            </a:xfrm>
            <a:custGeom>
              <a:avLst/>
              <a:gdLst>
                <a:gd name="connsiteX0" fmla="*/ 1161826 w 1638286"/>
                <a:gd name="connsiteY0" fmla="*/ 535324 h 535324"/>
                <a:gd name="connsiteX1" fmla="*/ 309069 w 1638286"/>
                <a:gd name="connsiteY1" fmla="*/ 535324 h 535324"/>
                <a:gd name="connsiteX2" fmla="*/ 0 w 1638286"/>
                <a:gd name="connsiteY2" fmla="*/ 0 h 535324"/>
                <a:gd name="connsiteX3" fmla="*/ 105173 w 1638286"/>
                <a:gd name="connsiteY3" fmla="*/ 0 h 535324"/>
                <a:gd name="connsiteX4" fmla="*/ 108430 w 1638286"/>
                <a:gd name="connsiteY4" fmla="*/ 524 h 535324"/>
                <a:gd name="connsiteX5" fmla="*/ 916509 w 1638286"/>
                <a:gd name="connsiteY5" fmla="*/ 524 h 535324"/>
                <a:gd name="connsiteX6" fmla="*/ 919811 w 1638286"/>
                <a:gd name="connsiteY6" fmla="*/ 0 h 535324"/>
                <a:gd name="connsiteX7" fmla="*/ 1638286 w 1638286"/>
                <a:gd name="connsiteY7" fmla="*/ 0 h 535324"/>
                <a:gd name="connsiteX8" fmla="*/ 1623613 w 1638286"/>
                <a:gd name="connsiteY8" fmla="*/ 25429 h 535324"/>
                <a:gd name="connsiteX9" fmla="*/ 1412461 w 1638286"/>
                <a:gd name="connsiteY9" fmla="*/ 391366 h 535324"/>
                <a:gd name="connsiteX10" fmla="*/ 1161826 w 1638286"/>
                <a:gd name="connsiteY10" fmla="*/ 535324 h 53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8286" h="535324">
                  <a:moveTo>
                    <a:pt x="1161826" y="535324"/>
                  </a:moveTo>
                  <a:lnTo>
                    <a:pt x="309069" y="535324"/>
                  </a:lnTo>
                  <a:lnTo>
                    <a:pt x="0" y="0"/>
                  </a:lnTo>
                  <a:lnTo>
                    <a:pt x="105173" y="0"/>
                  </a:lnTo>
                  <a:lnTo>
                    <a:pt x="108430" y="524"/>
                  </a:lnTo>
                  <a:lnTo>
                    <a:pt x="916509" y="524"/>
                  </a:lnTo>
                  <a:lnTo>
                    <a:pt x="919811" y="0"/>
                  </a:lnTo>
                  <a:lnTo>
                    <a:pt x="1638286" y="0"/>
                  </a:lnTo>
                  <a:lnTo>
                    <a:pt x="1623613" y="25429"/>
                  </a:lnTo>
                  <a:cubicBezTo>
                    <a:pt x="1412461" y="391366"/>
                    <a:pt x="1412461" y="391366"/>
                    <a:pt x="1412461" y="391366"/>
                  </a:cubicBezTo>
                  <a:cubicBezTo>
                    <a:pt x="1366047" y="470311"/>
                    <a:pt x="1254654" y="535324"/>
                    <a:pt x="1161826" y="535324"/>
                  </a:cubicBezTo>
                  <a:close/>
                </a:path>
              </a:pathLst>
            </a:custGeom>
            <a:solidFill>
              <a:srgbClr val="004195"/>
            </a:solidFill>
            <a:ln w="19050">
              <a:noFill/>
            </a:ln>
            <a:effectLst/>
          </p:spPr>
          <p:txBody>
            <a:bodyPr vert="horz" wrap="square" lIns="91431" tIns="45715" rIns="91431" bIns="45715" numCol="1" anchor="t" anchorCtr="0" compatLnSpc="1">
              <a:noAutofit/>
            </a:bodyPr>
            <a:lstStyle/>
            <a:p>
              <a:endParaRPr lang="zh-CN" altLang="en-US" sz="2400">
                <a:solidFill>
                  <a:prstClr val="black"/>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9" name="任意多边形 8"/>
            <p:cNvSpPr/>
            <p:nvPr/>
          </p:nvSpPr>
          <p:spPr bwMode="auto">
            <a:xfrm rot="18000000">
              <a:off x="6474997" y="4101429"/>
              <a:ext cx="1638287" cy="535252"/>
            </a:xfrm>
            <a:custGeom>
              <a:avLst/>
              <a:gdLst>
                <a:gd name="connsiteX0" fmla="*/ 1161826 w 1638286"/>
                <a:gd name="connsiteY0" fmla="*/ 535324 h 535324"/>
                <a:gd name="connsiteX1" fmla="*/ 309069 w 1638286"/>
                <a:gd name="connsiteY1" fmla="*/ 535324 h 535324"/>
                <a:gd name="connsiteX2" fmla="*/ 0 w 1638286"/>
                <a:gd name="connsiteY2" fmla="*/ 0 h 535324"/>
                <a:gd name="connsiteX3" fmla="*/ 105173 w 1638286"/>
                <a:gd name="connsiteY3" fmla="*/ 0 h 535324"/>
                <a:gd name="connsiteX4" fmla="*/ 108430 w 1638286"/>
                <a:gd name="connsiteY4" fmla="*/ 524 h 535324"/>
                <a:gd name="connsiteX5" fmla="*/ 916509 w 1638286"/>
                <a:gd name="connsiteY5" fmla="*/ 524 h 535324"/>
                <a:gd name="connsiteX6" fmla="*/ 919811 w 1638286"/>
                <a:gd name="connsiteY6" fmla="*/ 0 h 535324"/>
                <a:gd name="connsiteX7" fmla="*/ 1638286 w 1638286"/>
                <a:gd name="connsiteY7" fmla="*/ 0 h 535324"/>
                <a:gd name="connsiteX8" fmla="*/ 1623613 w 1638286"/>
                <a:gd name="connsiteY8" fmla="*/ 25429 h 535324"/>
                <a:gd name="connsiteX9" fmla="*/ 1412461 w 1638286"/>
                <a:gd name="connsiteY9" fmla="*/ 391366 h 535324"/>
                <a:gd name="connsiteX10" fmla="*/ 1161826 w 1638286"/>
                <a:gd name="connsiteY10" fmla="*/ 535324 h 53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8286" h="535324">
                  <a:moveTo>
                    <a:pt x="1161826" y="535324"/>
                  </a:moveTo>
                  <a:lnTo>
                    <a:pt x="309069" y="535324"/>
                  </a:lnTo>
                  <a:lnTo>
                    <a:pt x="0" y="0"/>
                  </a:lnTo>
                  <a:lnTo>
                    <a:pt x="105173" y="0"/>
                  </a:lnTo>
                  <a:lnTo>
                    <a:pt x="108430" y="524"/>
                  </a:lnTo>
                  <a:lnTo>
                    <a:pt x="916509" y="524"/>
                  </a:lnTo>
                  <a:lnTo>
                    <a:pt x="919811" y="0"/>
                  </a:lnTo>
                  <a:lnTo>
                    <a:pt x="1638286" y="0"/>
                  </a:lnTo>
                  <a:lnTo>
                    <a:pt x="1623613" y="25429"/>
                  </a:lnTo>
                  <a:cubicBezTo>
                    <a:pt x="1412461" y="391366"/>
                    <a:pt x="1412461" y="391366"/>
                    <a:pt x="1412461" y="391366"/>
                  </a:cubicBezTo>
                  <a:cubicBezTo>
                    <a:pt x="1366047" y="470311"/>
                    <a:pt x="1254654" y="535324"/>
                    <a:pt x="1161826" y="535324"/>
                  </a:cubicBezTo>
                  <a:close/>
                </a:path>
              </a:pathLst>
            </a:custGeom>
            <a:solidFill>
              <a:srgbClr val="0067CC"/>
            </a:solidFill>
            <a:ln w="19050">
              <a:noFill/>
            </a:ln>
            <a:effectLst/>
          </p:spPr>
          <p:txBody>
            <a:bodyPr vert="horz" wrap="square" lIns="91431" tIns="45715" rIns="91431" bIns="45715" numCol="1" anchor="t" anchorCtr="0" compatLnSpc="1">
              <a:noAutofit/>
            </a:bodyPr>
            <a:lstStyle/>
            <a:p>
              <a:endParaRPr lang="zh-CN" altLang="en-US" sz="2400">
                <a:solidFill>
                  <a:prstClr val="black"/>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0" name="任意多边形 9"/>
            <p:cNvSpPr/>
            <p:nvPr/>
          </p:nvSpPr>
          <p:spPr bwMode="auto">
            <a:xfrm rot="10800000" flipH="1" flipV="1">
              <a:off x="5626413" y="5001261"/>
              <a:ext cx="1638065" cy="535324"/>
            </a:xfrm>
            <a:custGeom>
              <a:avLst/>
              <a:gdLst>
                <a:gd name="connsiteX0" fmla="*/ 1161826 w 1638286"/>
                <a:gd name="connsiteY0" fmla="*/ 535324 h 535324"/>
                <a:gd name="connsiteX1" fmla="*/ 309069 w 1638286"/>
                <a:gd name="connsiteY1" fmla="*/ 535324 h 535324"/>
                <a:gd name="connsiteX2" fmla="*/ 0 w 1638286"/>
                <a:gd name="connsiteY2" fmla="*/ 0 h 535324"/>
                <a:gd name="connsiteX3" fmla="*/ 105173 w 1638286"/>
                <a:gd name="connsiteY3" fmla="*/ 0 h 535324"/>
                <a:gd name="connsiteX4" fmla="*/ 108430 w 1638286"/>
                <a:gd name="connsiteY4" fmla="*/ 524 h 535324"/>
                <a:gd name="connsiteX5" fmla="*/ 916509 w 1638286"/>
                <a:gd name="connsiteY5" fmla="*/ 524 h 535324"/>
                <a:gd name="connsiteX6" fmla="*/ 919811 w 1638286"/>
                <a:gd name="connsiteY6" fmla="*/ 0 h 535324"/>
                <a:gd name="connsiteX7" fmla="*/ 1638286 w 1638286"/>
                <a:gd name="connsiteY7" fmla="*/ 0 h 535324"/>
                <a:gd name="connsiteX8" fmla="*/ 1623613 w 1638286"/>
                <a:gd name="connsiteY8" fmla="*/ 25429 h 535324"/>
                <a:gd name="connsiteX9" fmla="*/ 1412461 w 1638286"/>
                <a:gd name="connsiteY9" fmla="*/ 391366 h 535324"/>
                <a:gd name="connsiteX10" fmla="*/ 1161826 w 1638286"/>
                <a:gd name="connsiteY10" fmla="*/ 535324 h 53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8286" h="535324">
                  <a:moveTo>
                    <a:pt x="1161826" y="535324"/>
                  </a:moveTo>
                  <a:lnTo>
                    <a:pt x="309069" y="535324"/>
                  </a:lnTo>
                  <a:lnTo>
                    <a:pt x="0" y="0"/>
                  </a:lnTo>
                  <a:lnTo>
                    <a:pt x="105173" y="0"/>
                  </a:lnTo>
                  <a:lnTo>
                    <a:pt x="108430" y="524"/>
                  </a:lnTo>
                  <a:lnTo>
                    <a:pt x="916509" y="524"/>
                  </a:lnTo>
                  <a:lnTo>
                    <a:pt x="919811" y="0"/>
                  </a:lnTo>
                  <a:lnTo>
                    <a:pt x="1638286" y="0"/>
                  </a:lnTo>
                  <a:lnTo>
                    <a:pt x="1623613" y="25429"/>
                  </a:lnTo>
                  <a:cubicBezTo>
                    <a:pt x="1412461" y="391366"/>
                    <a:pt x="1412461" y="391366"/>
                    <a:pt x="1412461" y="391366"/>
                  </a:cubicBezTo>
                  <a:cubicBezTo>
                    <a:pt x="1366047" y="470311"/>
                    <a:pt x="1254654" y="535324"/>
                    <a:pt x="1161826" y="535324"/>
                  </a:cubicBezTo>
                  <a:close/>
                </a:path>
              </a:pathLst>
            </a:custGeom>
            <a:solidFill>
              <a:srgbClr val="004195"/>
            </a:solidFill>
            <a:ln w="19050">
              <a:noFill/>
            </a:ln>
            <a:effectLst/>
          </p:spPr>
          <p:txBody>
            <a:bodyPr vert="horz" wrap="square" lIns="91431" tIns="45715" rIns="91431" bIns="45715" numCol="1" anchor="t" anchorCtr="0" compatLnSpc="1">
              <a:noAutofit/>
            </a:bodyPr>
            <a:lstStyle/>
            <a:p>
              <a:endParaRPr lang="zh-CN" altLang="en-US" sz="2400">
                <a:solidFill>
                  <a:prstClr val="black"/>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1" name="任意多边形 10"/>
            <p:cNvSpPr/>
            <p:nvPr/>
          </p:nvSpPr>
          <p:spPr bwMode="auto">
            <a:xfrm rot="14400000" flipH="1" flipV="1">
              <a:off x="4414857" y="4692355"/>
              <a:ext cx="1638287" cy="535252"/>
            </a:xfrm>
            <a:custGeom>
              <a:avLst/>
              <a:gdLst>
                <a:gd name="connsiteX0" fmla="*/ 1161826 w 1638286"/>
                <a:gd name="connsiteY0" fmla="*/ 535324 h 535324"/>
                <a:gd name="connsiteX1" fmla="*/ 309069 w 1638286"/>
                <a:gd name="connsiteY1" fmla="*/ 535324 h 535324"/>
                <a:gd name="connsiteX2" fmla="*/ 0 w 1638286"/>
                <a:gd name="connsiteY2" fmla="*/ 0 h 535324"/>
                <a:gd name="connsiteX3" fmla="*/ 105173 w 1638286"/>
                <a:gd name="connsiteY3" fmla="*/ 0 h 535324"/>
                <a:gd name="connsiteX4" fmla="*/ 108430 w 1638286"/>
                <a:gd name="connsiteY4" fmla="*/ 524 h 535324"/>
                <a:gd name="connsiteX5" fmla="*/ 916509 w 1638286"/>
                <a:gd name="connsiteY5" fmla="*/ 524 h 535324"/>
                <a:gd name="connsiteX6" fmla="*/ 919811 w 1638286"/>
                <a:gd name="connsiteY6" fmla="*/ 0 h 535324"/>
                <a:gd name="connsiteX7" fmla="*/ 1638286 w 1638286"/>
                <a:gd name="connsiteY7" fmla="*/ 0 h 535324"/>
                <a:gd name="connsiteX8" fmla="*/ 1623613 w 1638286"/>
                <a:gd name="connsiteY8" fmla="*/ 25429 h 535324"/>
                <a:gd name="connsiteX9" fmla="*/ 1412461 w 1638286"/>
                <a:gd name="connsiteY9" fmla="*/ 391366 h 535324"/>
                <a:gd name="connsiteX10" fmla="*/ 1161826 w 1638286"/>
                <a:gd name="connsiteY10" fmla="*/ 535324 h 53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8286" h="535324">
                  <a:moveTo>
                    <a:pt x="1161826" y="535324"/>
                  </a:moveTo>
                  <a:lnTo>
                    <a:pt x="309069" y="535324"/>
                  </a:lnTo>
                  <a:lnTo>
                    <a:pt x="0" y="0"/>
                  </a:lnTo>
                  <a:lnTo>
                    <a:pt x="105173" y="0"/>
                  </a:lnTo>
                  <a:lnTo>
                    <a:pt x="108430" y="524"/>
                  </a:lnTo>
                  <a:lnTo>
                    <a:pt x="916509" y="524"/>
                  </a:lnTo>
                  <a:lnTo>
                    <a:pt x="919811" y="0"/>
                  </a:lnTo>
                  <a:lnTo>
                    <a:pt x="1638286" y="0"/>
                  </a:lnTo>
                  <a:lnTo>
                    <a:pt x="1623613" y="25429"/>
                  </a:lnTo>
                  <a:cubicBezTo>
                    <a:pt x="1412461" y="391366"/>
                    <a:pt x="1412461" y="391366"/>
                    <a:pt x="1412461" y="391366"/>
                  </a:cubicBezTo>
                  <a:cubicBezTo>
                    <a:pt x="1366047" y="470311"/>
                    <a:pt x="1254654" y="535324"/>
                    <a:pt x="1161826" y="535324"/>
                  </a:cubicBezTo>
                  <a:close/>
                </a:path>
              </a:pathLst>
            </a:custGeom>
            <a:solidFill>
              <a:srgbClr val="004195"/>
            </a:solidFill>
            <a:ln w="19050">
              <a:noFill/>
            </a:ln>
            <a:effectLst/>
          </p:spPr>
          <p:txBody>
            <a:bodyPr vert="horz" wrap="square" lIns="91431" tIns="45715" rIns="91431" bIns="45715" numCol="1" anchor="t" anchorCtr="0" compatLnSpc="1">
              <a:noAutofit/>
            </a:bodyPr>
            <a:lstStyle/>
            <a:p>
              <a:endParaRPr lang="zh-CN" altLang="en-US" sz="2400">
                <a:solidFill>
                  <a:prstClr val="black"/>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3" name="任意多边形 12"/>
            <p:cNvSpPr/>
            <p:nvPr/>
          </p:nvSpPr>
          <p:spPr bwMode="auto">
            <a:xfrm rot="18000000" flipH="1" flipV="1">
              <a:off x="4031103" y="3493742"/>
              <a:ext cx="1638287" cy="535252"/>
            </a:xfrm>
            <a:custGeom>
              <a:avLst/>
              <a:gdLst>
                <a:gd name="connsiteX0" fmla="*/ 1161826 w 1638286"/>
                <a:gd name="connsiteY0" fmla="*/ 535324 h 535324"/>
                <a:gd name="connsiteX1" fmla="*/ 309069 w 1638286"/>
                <a:gd name="connsiteY1" fmla="*/ 535324 h 535324"/>
                <a:gd name="connsiteX2" fmla="*/ 0 w 1638286"/>
                <a:gd name="connsiteY2" fmla="*/ 0 h 535324"/>
                <a:gd name="connsiteX3" fmla="*/ 105173 w 1638286"/>
                <a:gd name="connsiteY3" fmla="*/ 0 h 535324"/>
                <a:gd name="connsiteX4" fmla="*/ 108430 w 1638286"/>
                <a:gd name="connsiteY4" fmla="*/ 524 h 535324"/>
                <a:gd name="connsiteX5" fmla="*/ 916509 w 1638286"/>
                <a:gd name="connsiteY5" fmla="*/ 524 h 535324"/>
                <a:gd name="connsiteX6" fmla="*/ 919811 w 1638286"/>
                <a:gd name="connsiteY6" fmla="*/ 0 h 535324"/>
                <a:gd name="connsiteX7" fmla="*/ 1638286 w 1638286"/>
                <a:gd name="connsiteY7" fmla="*/ 0 h 535324"/>
                <a:gd name="connsiteX8" fmla="*/ 1623613 w 1638286"/>
                <a:gd name="connsiteY8" fmla="*/ 25429 h 535324"/>
                <a:gd name="connsiteX9" fmla="*/ 1412461 w 1638286"/>
                <a:gd name="connsiteY9" fmla="*/ 391366 h 535324"/>
                <a:gd name="connsiteX10" fmla="*/ 1161826 w 1638286"/>
                <a:gd name="connsiteY10" fmla="*/ 535324 h 53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8286" h="535324">
                  <a:moveTo>
                    <a:pt x="1161826" y="535324"/>
                  </a:moveTo>
                  <a:lnTo>
                    <a:pt x="309069" y="535324"/>
                  </a:lnTo>
                  <a:lnTo>
                    <a:pt x="0" y="0"/>
                  </a:lnTo>
                  <a:lnTo>
                    <a:pt x="105173" y="0"/>
                  </a:lnTo>
                  <a:lnTo>
                    <a:pt x="108430" y="524"/>
                  </a:lnTo>
                  <a:lnTo>
                    <a:pt x="916509" y="524"/>
                  </a:lnTo>
                  <a:lnTo>
                    <a:pt x="919811" y="0"/>
                  </a:lnTo>
                  <a:lnTo>
                    <a:pt x="1638286" y="0"/>
                  </a:lnTo>
                  <a:lnTo>
                    <a:pt x="1623613" y="25429"/>
                  </a:lnTo>
                  <a:cubicBezTo>
                    <a:pt x="1412461" y="391366"/>
                    <a:pt x="1412461" y="391366"/>
                    <a:pt x="1412461" y="391366"/>
                  </a:cubicBezTo>
                  <a:cubicBezTo>
                    <a:pt x="1366047" y="470311"/>
                    <a:pt x="1254654" y="535324"/>
                    <a:pt x="1161826" y="535324"/>
                  </a:cubicBezTo>
                  <a:close/>
                </a:path>
              </a:pathLst>
            </a:custGeom>
            <a:solidFill>
              <a:srgbClr val="0067CC"/>
            </a:solidFill>
            <a:ln w="19050">
              <a:noFill/>
            </a:ln>
            <a:effectLst/>
          </p:spPr>
          <p:txBody>
            <a:bodyPr vert="horz" wrap="square" lIns="91431" tIns="45715" rIns="91431" bIns="45715" numCol="1" anchor="t" anchorCtr="0" compatLnSpc="1">
              <a:noAutofit/>
            </a:bodyPr>
            <a:lstStyle/>
            <a:p>
              <a:endParaRPr lang="zh-CN" altLang="en-US" sz="2400">
                <a:solidFill>
                  <a:prstClr val="black"/>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sp>
        <p:nvSpPr>
          <p:cNvPr id="43" name="任意多边形 42"/>
          <p:cNvSpPr/>
          <p:nvPr/>
        </p:nvSpPr>
        <p:spPr>
          <a:xfrm flipH="1" flipV="1">
            <a:off x="1807854" y="2755243"/>
            <a:ext cx="2821165" cy="638628"/>
          </a:xfrm>
          <a:custGeom>
            <a:avLst/>
            <a:gdLst>
              <a:gd name="connsiteX0" fmla="*/ 0 w 2815771"/>
              <a:gd name="connsiteY0" fmla="*/ 0 h 638628"/>
              <a:gd name="connsiteX1" fmla="*/ 725714 w 2815771"/>
              <a:gd name="connsiteY1" fmla="*/ 638628 h 638628"/>
              <a:gd name="connsiteX2" fmla="*/ 2815771 w 2815771"/>
              <a:gd name="connsiteY2" fmla="*/ 638628 h 638628"/>
            </a:gdLst>
            <a:ahLst/>
            <a:cxnLst>
              <a:cxn ang="0">
                <a:pos x="connsiteX0" y="connsiteY0"/>
              </a:cxn>
              <a:cxn ang="0">
                <a:pos x="connsiteX1" y="connsiteY1"/>
              </a:cxn>
              <a:cxn ang="0">
                <a:pos x="connsiteX2" y="connsiteY2"/>
              </a:cxn>
            </a:cxnLst>
            <a:rect l="l" t="t" r="r" b="b"/>
            <a:pathLst>
              <a:path w="2815771" h="638628">
                <a:moveTo>
                  <a:pt x="0" y="0"/>
                </a:moveTo>
                <a:lnTo>
                  <a:pt x="725714" y="638628"/>
                </a:lnTo>
                <a:lnTo>
                  <a:pt x="2815771" y="638628"/>
                </a:lnTo>
              </a:path>
            </a:pathLst>
          </a:custGeom>
          <a:noFill/>
          <a:ln w="9525">
            <a:solidFill>
              <a:srgbClr val="6893B9"/>
            </a:solidFill>
          </a:ln>
        </p:spPr>
        <p:style>
          <a:lnRef idx="2">
            <a:schemeClr val="accent1">
              <a:shade val="50000"/>
            </a:schemeClr>
          </a:lnRef>
          <a:fillRef idx="1">
            <a:schemeClr val="accent1"/>
          </a:fillRef>
          <a:effectRef idx="0">
            <a:schemeClr val="accent1"/>
          </a:effectRef>
          <a:fontRef idx="minor">
            <a:schemeClr val="lt1"/>
          </a:fontRef>
        </p:style>
        <p:txBody>
          <a:bodyPr lIns="121907" tIns="60953" rIns="121907" bIns="60953" rtlCol="0" anchor="ctr"/>
          <a:lstStyle/>
          <a:p>
            <a:pPr algn="ctr"/>
            <a:endParaRPr lang="zh-CN" altLang="en-US" sz="2400">
              <a:solidFill>
                <a:prstClr val="white"/>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4" name="任意多边形 43"/>
          <p:cNvSpPr/>
          <p:nvPr/>
        </p:nvSpPr>
        <p:spPr>
          <a:xfrm flipH="1">
            <a:off x="1799746" y="4909732"/>
            <a:ext cx="2900597" cy="638628"/>
          </a:xfrm>
          <a:custGeom>
            <a:avLst/>
            <a:gdLst>
              <a:gd name="connsiteX0" fmla="*/ 0 w 2815771"/>
              <a:gd name="connsiteY0" fmla="*/ 0 h 638628"/>
              <a:gd name="connsiteX1" fmla="*/ 725714 w 2815771"/>
              <a:gd name="connsiteY1" fmla="*/ 638628 h 638628"/>
              <a:gd name="connsiteX2" fmla="*/ 2815771 w 2815771"/>
              <a:gd name="connsiteY2" fmla="*/ 638628 h 638628"/>
            </a:gdLst>
            <a:ahLst/>
            <a:cxnLst>
              <a:cxn ang="0">
                <a:pos x="connsiteX0" y="connsiteY0"/>
              </a:cxn>
              <a:cxn ang="0">
                <a:pos x="connsiteX1" y="connsiteY1"/>
              </a:cxn>
              <a:cxn ang="0">
                <a:pos x="connsiteX2" y="connsiteY2"/>
              </a:cxn>
            </a:cxnLst>
            <a:rect l="l" t="t" r="r" b="b"/>
            <a:pathLst>
              <a:path w="2815771" h="638628">
                <a:moveTo>
                  <a:pt x="0" y="0"/>
                </a:moveTo>
                <a:lnTo>
                  <a:pt x="725714" y="638628"/>
                </a:lnTo>
                <a:lnTo>
                  <a:pt x="2815771" y="638628"/>
                </a:lnTo>
              </a:path>
            </a:pathLst>
          </a:custGeom>
          <a:noFill/>
          <a:ln w="9525">
            <a:solidFill>
              <a:srgbClr val="6893B9"/>
            </a:solidFill>
          </a:ln>
        </p:spPr>
        <p:style>
          <a:lnRef idx="2">
            <a:schemeClr val="accent1">
              <a:shade val="50000"/>
            </a:schemeClr>
          </a:lnRef>
          <a:fillRef idx="1">
            <a:schemeClr val="accent1"/>
          </a:fillRef>
          <a:effectRef idx="0">
            <a:schemeClr val="accent1"/>
          </a:effectRef>
          <a:fontRef idx="minor">
            <a:schemeClr val="lt1"/>
          </a:fontRef>
        </p:style>
        <p:txBody>
          <a:bodyPr lIns="121907" tIns="60953" rIns="121907" bIns="60953" rtlCol="0" anchor="ctr"/>
          <a:lstStyle/>
          <a:p>
            <a:pPr algn="ctr"/>
            <a:endParaRPr lang="zh-CN" altLang="en-US" sz="2400">
              <a:solidFill>
                <a:prstClr val="white"/>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5" name="任意多边形 44"/>
          <p:cNvSpPr/>
          <p:nvPr/>
        </p:nvSpPr>
        <p:spPr>
          <a:xfrm flipV="1">
            <a:off x="7507891" y="2777471"/>
            <a:ext cx="2939755" cy="638628"/>
          </a:xfrm>
          <a:custGeom>
            <a:avLst/>
            <a:gdLst>
              <a:gd name="connsiteX0" fmla="*/ 0 w 2815771"/>
              <a:gd name="connsiteY0" fmla="*/ 0 h 638628"/>
              <a:gd name="connsiteX1" fmla="*/ 725714 w 2815771"/>
              <a:gd name="connsiteY1" fmla="*/ 638628 h 638628"/>
              <a:gd name="connsiteX2" fmla="*/ 2815771 w 2815771"/>
              <a:gd name="connsiteY2" fmla="*/ 638628 h 638628"/>
            </a:gdLst>
            <a:ahLst/>
            <a:cxnLst>
              <a:cxn ang="0">
                <a:pos x="connsiteX0" y="connsiteY0"/>
              </a:cxn>
              <a:cxn ang="0">
                <a:pos x="connsiteX1" y="connsiteY1"/>
              </a:cxn>
              <a:cxn ang="0">
                <a:pos x="connsiteX2" y="connsiteY2"/>
              </a:cxn>
            </a:cxnLst>
            <a:rect l="l" t="t" r="r" b="b"/>
            <a:pathLst>
              <a:path w="2815771" h="638628">
                <a:moveTo>
                  <a:pt x="0" y="0"/>
                </a:moveTo>
                <a:lnTo>
                  <a:pt x="725714" y="638628"/>
                </a:lnTo>
                <a:lnTo>
                  <a:pt x="2815771" y="638628"/>
                </a:lnTo>
              </a:path>
            </a:pathLst>
          </a:custGeom>
          <a:noFill/>
          <a:ln w="9525">
            <a:solidFill>
              <a:srgbClr val="6893B9"/>
            </a:solidFill>
          </a:ln>
        </p:spPr>
        <p:style>
          <a:lnRef idx="2">
            <a:schemeClr val="accent1">
              <a:shade val="50000"/>
            </a:schemeClr>
          </a:lnRef>
          <a:fillRef idx="1">
            <a:schemeClr val="accent1"/>
          </a:fillRef>
          <a:effectRef idx="0">
            <a:schemeClr val="accent1"/>
          </a:effectRef>
          <a:fontRef idx="minor">
            <a:schemeClr val="lt1"/>
          </a:fontRef>
        </p:style>
        <p:txBody>
          <a:bodyPr lIns="121907" tIns="60953" rIns="121907" bIns="60953" rtlCol="0" anchor="ctr"/>
          <a:lstStyle/>
          <a:p>
            <a:pPr algn="ctr"/>
            <a:endParaRPr lang="zh-CN" altLang="en-US" sz="2400">
              <a:solidFill>
                <a:srgbClr val="080808"/>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6" name="任意多边形 45"/>
          <p:cNvSpPr/>
          <p:nvPr/>
        </p:nvSpPr>
        <p:spPr>
          <a:xfrm>
            <a:off x="7511035" y="4896620"/>
            <a:ext cx="2939755" cy="638628"/>
          </a:xfrm>
          <a:custGeom>
            <a:avLst/>
            <a:gdLst>
              <a:gd name="connsiteX0" fmla="*/ 0 w 2815771"/>
              <a:gd name="connsiteY0" fmla="*/ 0 h 638628"/>
              <a:gd name="connsiteX1" fmla="*/ 725714 w 2815771"/>
              <a:gd name="connsiteY1" fmla="*/ 638628 h 638628"/>
              <a:gd name="connsiteX2" fmla="*/ 2815771 w 2815771"/>
              <a:gd name="connsiteY2" fmla="*/ 638628 h 638628"/>
            </a:gdLst>
            <a:ahLst/>
            <a:cxnLst>
              <a:cxn ang="0">
                <a:pos x="connsiteX0" y="connsiteY0"/>
              </a:cxn>
              <a:cxn ang="0">
                <a:pos x="connsiteX1" y="connsiteY1"/>
              </a:cxn>
              <a:cxn ang="0">
                <a:pos x="connsiteX2" y="connsiteY2"/>
              </a:cxn>
            </a:cxnLst>
            <a:rect l="l" t="t" r="r" b="b"/>
            <a:pathLst>
              <a:path w="2815771" h="638628">
                <a:moveTo>
                  <a:pt x="0" y="0"/>
                </a:moveTo>
                <a:lnTo>
                  <a:pt x="725714" y="638628"/>
                </a:lnTo>
                <a:lnTo>
                  <a:pt x="2815771" y="638628"/>
                </a:lnTo>
              </a:path>
            </a:pathLst>
          </a:custGeom>
          <a:noFill/>
          <a:ln w="9525">
            <a:solidFill>
              <a:srgbClr val="6893B9"/>
            </a:solidFill>
          </a:ln>
        </p:spPr>
        <p:style>
          <a:lnRef idx="2">
            <a:schemeClr val="accent1">
              <a:shade val="50000"/>
            </a:schemeClr>
          </a:lnRef>
          <a:fillRef idx="1">
            <a:schemeClr val="accent1"/>
          </a:fillRef>
          <a:effectRef idx="0">
            <a:schemeClr val="accent1"/>
          </a:effectRef>
          <a:fontRef idx="minor">
            <a:schemeClr val="lt1"/>
          </a:fontRef>
        </p:style>
        <p:txBody>
          <a:bodyPr lIns="121907" tIns="60953" rIns="121907" bIns="60953" rtlCol="0" anchor="ctr"/>
          <a:lstStyle/>
          <a:p>
            <a:pPr algn="ctr"/>
            <a:endParaRPr lang="zh-CN" altLang="en-US" sz="2400" b="1">
              <a:ln w="12700">
                <a:solidFill>
                  <a:srgbClr val="F45157">
                    <a:satMod val="155000"/>
                  </a:srgbClr>
                </a:solidFill>
                <a:prstDash val="solid"/>
              </a:ln>
              <a:solidFill>
                <a:srgbClr val="8FA3A4">
                  <a:tint val="85000"/>
                  <a:satMod val="155000"/>
                </a:srgbClr>
              </a:solidFill>
              <a:effectLst>
                <a:outerShdw blurRad="41275" dist="20320" dir="1800000" algn="tl" rotWithShape="0">
                  <a:srgbClr val="000000">
                    <a:alpha val="40000"/>
                  </a:srgbClr>
                </a:outerShdw>
              </a:effectLst>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47" name="组合 1"/>
          <p:cNvGrpSpPr/>
          <p:nvPr/>
        </p:nvGrpSpPr>
        <p:grpSpPr>
          <a:xfrm>
            <a:off x="1711856" y="1589923"/>
            <a:ext cx="2351692" cy="1062034"/>
            <a:chOff x="6382170" y="2059994"/>
            <a:chExt cx="1764007" cy="796525"/>
          </a:xfrm>
        </p:grpSpPr>
        <p:sp>
          <p:nvSpPr>
            <p:cNvPr id="48" name="TextBox 20"/>
            <p:cNvSpPr txBox="1"/>
            <p:nvPr/>
          </p:nvSpPr>
          <p:spPr bwMode="auto">
            <a:xfrm>
              <a:off x="6382170" y="2351771"/>
              <a:ext cx="1764007" cy="504749"/>
            </a:xfrm>
            <a:prstGeom prst="rect">
              <a:avLst/>
            </a:prstGeom>
            <a:noFill/>
          </p:spPr>
          <p:txBody>
            <a:bodyPr vert="horz" wrap="square" lIns="124356" tIns="62179" rIns="124356" bIns="62179"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vi-VN" altLang="vi-VN" sz="1200">
                  <a:solidFill>
                    <a:schemeClr val="tx1">
                      <a:lumMod val="75000"/>
                      <a:lumOff val="25000"/>
                    </a:schemeClr>
                  </a:solidFill>
                  <a:latin typeface="Noto Sans"/>
                  <a:ea typeface="Noto Sans"/>
                  <a:cs typeface="+mn-ea"/>
                  <a:sym typeface="Source Han Serif SC" panose="02020700000000000000" pitchFamily="18" charset="-122"/>
                </a:rPr>
                <a:t>Vui lòng thay thế nội dung văn bản và sao chép nội dung của bạn tại đây. Vui</a:t>
              </a:r>
            </a:p>
          </p:txBody>
        </p:sp>
        <p:sp>
          <p:nvSpPr>
            <p:cNvPr id="49" name="TextBox 19"/>
            <p:cNvSpPr txBox="1">
              <a:spLocks noChangeArrowheads="1"/>
            </p:cNvSpPr>
            <p:nvPr/>
          </p:nvSpPr>
          <p:spPr bwMode="auto">
            <a:xfrm>
              <a:off x="6382171" y="2059994"/>
              <a:ext cx="1764006" cy="32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56" tIns="62179" rIns="124356" bIns="62179"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fontAlgn="base">
                <a:lnSpc>
                  <a:spcPct val="100000"/>
                </a:lnSpc>
                <a:spcBef>
                  <a:spcPct val="0"/>
                </a:spcBef>
                <a:spcAft>
                  <a:spcPct val="0"/>
                </a:spcAft>
              </a:pPr>
              <a:r>
                <a:rPr lang="vi-VN" altLang="vi-VN" sz="2000" spc="100">
                  <a:solidFill>
                    <a:schemeClr val="tx1">
                      <a:lumMod val="75000"/>
                      <a:lumOff val="25000"/>
                    </a:schemeClr>
                  </a:solidFill>
                  <a:uFillTx/>
                  <a:latin typeface="Noto Sans"/>
                  <a:ea typeface="Noto Sans"/>
                  <a:cs typeface="+mn-ea"/>
                  <a:sym typeface="Source Han Serif SC" panose="02020700000000000000" pitchFamily="18" charset="-122"/>
                </a:rPr>
                <a:t>Thêm tiêu đề</a:t>
              </a:r>
            </a:p>
          </p:txBody>
        </p:sp>
      </p:grpSp>
      <p:grpSp>
        <p:nvGrpSpPr>
          <p:cNvPr id="50" name="组合 1"/>
          <p:cNvGrpSpPr/>
          <p:nvPr/>
        </p:nvGrpSpPr>
        <p:grpSpPr>
          <a:xfrm>
            <a:off x="1711856" y="4390808"/>
            <a:ext cx="2351692" cy="1057599"/>
            <a:chOff x="6382170" y="2120525"/>
            <a:chExt cx="1764007" cy="793200"/>
          </a:xfrm>
        </p:grpSpPr>
        <p:sp>
          <p:nvSpPr>
            <p:cNvPr id="5" name="TextBox 20"/>
            <p:cNvSpPr txBox="1"/>
            <p:nvPr/>
          </p:nvSpPr>
          <p:spPr bwMode="auto">
            <a:xfrm>
              <a:off x="6382170" y="2408977"/>
              <a:ext cx="1764007" cy="504749"/>
            </a:xfrm>
            <a:prstGeom prst="rect">
              <a:avLst/>
            </a:prstGeom>
            <a:noFill/>
          </p:spPr>
          <p:txBody>
            <a:bodyPr vert="horz" wrap="square" lIns="124356" tIns="62179" rIns="124356" bIns="62179"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vi-VN" altLang="vi-VN" sz="1200">
                  <a:solidFill>
                    <a:schemeClr val="tx1">
                      <a:lumMod val="75000"/>
                      <a:lumOff val="25000"/>
                    </a:schemeClr>
                  </a:solidFill>
                  <a:latin typeface="Noto Sans"/>
                  <a:ea typeface="Noto Sans"/>
                  <a:cs typeface="+mn-ea"/>
                  <a:sym typeface="Source Han Serif SC" panose="02020700000000000000" pitchFamily="18" charset="-122"/>
                </a:rPr>
                <a:t>Vui lòng thay thế nội dung văn bản và sao chép nội dung của bạn tại đây. Vui</a:t>
              </a:r>
            </a:p>
          </p:txBody>
        </p:sp>
        <p:sp>
          <p:nvSpPr>
            <p:cNvPr id="6" name="TextBox 19"/>
            <p:cNvSpPr txBox="1">
              <a:spLocks noChangeArrowheads="1"/>
            </p:cNvSpPr>
            <p:nvPr/>
          </p:nvSpPr>
          <p:spPr bwMode="auto">
            <a:xfrm>
              <a:off x="6382171" y="2120525"/>
              <a:ext cx="1764006" cy="32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56" tIns="62179" rIns="124356" bIns="62179"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fontAlgn="base">
                <a:lnSpc>
                  <a:spcPct val="100000"/>
                </a:lnSpc>
                <a:buClrTx/>
                <a:buSzTx/>
                <a:buFontTx/>
              </a:pPr>
              <a:r>
                <a:rPr lang="vi-VN" altLang="vi-VN" sz="2000" spc="100">
                  <a:solidFill>
                    <a:schemeClr val="tx1">
                      <a:lumMod val="75000"/>
                      <a:lumOff val="25000"/>
                    </a:schemeClr>
                  </a:solidFill>
                  <a:uFillTx/>
                  <a:latin typeface="Noto Sans"/>
                  <a:ea typeface="Noto Sans"/>
                  <a:cs typeface="+mn-ea"/>
                  <a:sym typeface="Source Han Serif SC" panose="02020700000000000000" pitchFamily="18" charset="-122"/>
                </a:rPr>
                <a:t>Thêm tiêu đề</a:t>
              </a:r>
            </a:p>
          </p:txBody>
        </p:sp>
      </p:grpSp>
      <p:grpSp>
        <p:nvGrpSpPr>
          <p:cNvPr id="7" name="组合 1"/>
          <p:cNvGrpSpPr/>
          <p:nvPr/>
        </p:nvGrpSpPr>
        <p:grpSpPr>
          <a:xfrm>
            <a:off x="8191956" y="1589921"/>
            <a:ext cx="2351692" cy="1100709"/>
            <a:chOff x="6382172" y="2059994"/>
            <a:chExt cx="1764007" cy="825533"/>
          </a:xfrm>
        </p:grpSpPr>
        <p:sp>
          <p:nvSpPr>
            <p:cNvPr id="15" name="TextBox 20"/>
            <p:cNvSpPr txBox="1"/>
            <p:nvPr/>
          </p:nvSpPr>
          <p:spPr bwMode="auto">
            <a:xfrm>
              <a:off x="6382171" y="2380778"/>
              <a:ext cx="1764007" cy="504749"/>
            </a:xfrm>
            <a:prstGeom prst="rect">
              <a:avLst/>
            </a:prstGeom>
            <a:noFill/>
          </p:spPr>
          <p:txBody>
            <a:bodyPr vert="horz" wrap="square" lIns="124356" tIns="62179" rIns="124356" bIns="62179"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vi-VN" altLang="vi-VN" sz="1200">
                  <a:solidFill>
                    <a:schemeClr val="tx1">
                      <a:lumMod val="75000"/>
                      <a:lumOff val="25000"/>
                    </a:schemeClr>
                  </a:solidFill>
                  <a:latin typeface="Noto Sans"/>
                  <a:ea typeface="Noto Sans"/>
                  <a:cs typeface="+mn-ea"/>
                  <a:sym typeface="Source Han Serif SC" panose="02020700000000000000" pitchFamily="18" charset="-122"/>
                </a:rPr>
                <a:t>Vui lòng thay thế nội dung văn bản và sao chép nội dung của bạn tại đây. Vui</a:t>
              </a:r>
            </a:p>
          </p:txBody>
        </p:sp>
        <p:sp>
          <p:nvSpPr>
            <p:cNvPr id="16" name="TextBox 19"/>
            <p:cNvSpPr txBox="1">
              <a:spLocks noChangeArrowheads="1"/>
            </p:cNvSpPr>
            <p:nvPr/>
          </p:nvSpPr>
          <p:spPr bwMode="auto">
            <a:xfrm>
              <a:off x="6382172" y="2059994"/>
              <a:ext cx="1764006" cy="32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56" tIns="62179" rIns="124356" bIns="62179"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fontAlgn="base">
                <a:lnSpc>
                  <a:spcPct val="100000"/>
                </a:lnSpc>
                <a:buClrTx/>
                <a:buSzTx/>
                <a:buFontTx/>
              </a:pPr>
              <a:r>
                <a:rPr lang="vi-VN" altLang="vi-VN" sz="2000" spc="100">
                  <a:solidFill>
                    <a:schemeClr val="tx1">
                      <a:lumMod val="75000"/>
                      <a:lumOff val="25000"/>
                    </a:schemeClr>
                  </a:solidFill>
                  <a:uFillTx/>
                  <a:latin typeface="Noto Sans"/>
                  <a:ea typeface="Noto Sans"/>
                  <a:cs typeface="+mn-ea"/>
                  <a:sym typeface="Source Han Serif SC" panose="02020700000000000000" pitchFamily="18" charset="-122"/>
                </a:rPr>
                <a:t>Thêm tiêu đề</a:t>
              </a:r>
            </a:p>
          </p:txBody>
        </p:sp>
      </p:grpSp>
      <p:grpSp>
        <p:nvGrpSpPr>
          <p:cNvPr id="17" name="组合 1"/>
          <p:cNvGrpSpPr/>
          <p:nvPr/>
        </p:nvGrpSpPr>
        <p:grpSpPr>
          <a:xfrm>
            <a:off x="8182044" y="4390808"/>
            <a:ext cx="2361605" cy="1057599"/>
            <a:chOff x="6374735" y="2120525"/>
            <a:chExt cx="1771443" cy="793200"/>
          </a:xfrm>
        </p:grpSpPr>
        <p:sp>
          <p:nvSpPr>
            <p:cNvPr id="18" name="TextBox 20"/>
            <p:cNvSpPr txBox="1"/>
            <p:nvPr/>
          </p:nvSpPr>
          <p:spPr bwMode="auto">
            <a:xfrm>
              <a:off x="6374734" y="2408977"/>
              <a:ext cx="1764007" cy="504749"/>
            </a:xfrm>
            <a:prstGeom prst="rect">
              <a:avLst/>
            </a:prstGeom>
            <a:noFill/>
          </p:spPr>
          <p:txBody>
            <a:bodyPr vert="horz" wrap="square" lIns="124356" tIns="62179" rIns="124356" bIns="62179"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vi-VN" altLang="vi-VN" sz="1200">
                  <a:solidFill>
                    <a:schemeClr val="tx1">
                      <a:lumMod val="75000"/>
                      <a:lumOff val="25000"/>
                    </a:schemeClr>
                  </a:solidFill>
                  <a:latin typeface="Noto Sans"/>
                  <a:ea typeface="Noto Sans"/>
                  <a:cs typeface="+mn-ea"/>
                  <a:sym typeface="Source Han Serif SC" panose="02020700000000000000" pitchFamily="18" charset="-122"/>
                </a:rPr>
                <a:t>Vui lòng thay thế nội dung văn bản và sao chép nội dung của bạn tại đây. Vui</a:t>
              </a:r>
            </a:p>
          </p:txBody>
        </p:sp>
        <p:sp>
          <p:nvSpPr>
            <p:cNvPr id="19" name="TextBox 19"/>
            <p:cNvSpPr txBox="1">
              <a:spLocks noChangeArrowheads="1"/>
            </p:cNvSpPr>
            <p:nvPr/>
          </p:nvSpPr>
          <p:spPr bwMode="auto">
            <a:xfrm>
              <a:off x="6382172" y="2120525"/>
              <a:ext cx="1764006" cy="32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56" tIns="62179" rIns="124356" bIns="62179"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fontAlgn="base">
                <a:lnSpc>
                  <a:spcPct val="100000"/>
                </a:lnSpc>
                <a:buClrTx/>
                <a:buSzTx/>
                <a:buFontTx/>
              </a:pPr>
              <a:r>
                <a:rPr lang="vi-VN" altLang="vi-VN" sz="2000" spc="100">
                  <a:solidFill>
                    <a:schemeClr val="tx1">
                      <a:lumMod val="75000"/>
                      <a:lumOff val="25000"/>
                    </a:schemeClr>
                  </a:solidFill>
                  <a:uFillTx/>
                  <a:latin typeface="Noto Sans"/>
                  <a:ea typeface="Noto Sans"/>
                  <a:cs typeface="+mn-ea"/>
                  <a:sym typeface="Source Han Serif SC" panose="02020700000000000000" pitchFamily="18" charset="-122"/>
                </a:rPr>
                <a:t>Thêm tiêu đề</a:t>
              </a:r>
            </a:p>
          </p:txBody>
        </p:sp>
      </p:grpSp>
      <p:sp>
        <p:nvSpPr>
          <p:cNvPr id="20" name="TextBox 19"/>
          <p:cNvSpPr txBox="1">
            <a:spLocks noChangeArrowheads="1"/>
          </p:cNvSpPr>
          <p:nvPr/>
        </p:nvSpPr>
        <p:spPr bwMode="auto">
          <a:xfrm>
            <a:off x="5523069" y="3690220"/>
            <a:ext cx="1235649" cy="810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81" tIns="62191" rIns="124381" bIns="62191"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vi-VN" altLang="vi-VN" sz="1700">
                <a:solidFill>
                  <a:schemeClr val="tx1">
                    <a:lumMod val="75000"/>
                    <a:lumOff val="25000"/>
                  </a:schemeClr>
                </a:solidFill>
                <a:latin typeface="Noto Sans"/>
                <a:ea typeface="Noto Sans"/>
                <a:cs typeface="+mn-ea"/>
                <a:sym typeface="Source Han Serif SC" panose="02020700000000000000" pitchFamily="18" charset="-122"/>
              </a:rPr>
              <a:t>tiêu đề</a:t>
            </a:r>
            <a:endParaRPr lang="en-US" altLang="zh-CN" sz="28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a:p>
            <a:pPr algn="ctr" fontAlgn="base">
              <a:spcBef>
                <a:spcPct val="0"/>
              </a:spcBef>
              <a:spcAft>
                <a:spcPct val="0"/>
              </a:spcAft>
            </a:pPr>
            <a:r>
              <a:rPr lang="vi-VN" altLang="vi-VN" sz="2800">
                <a:solidFill>
                  <a:schemeClr val="tx1">
                    <a:lumMod val="75000"/>
                    <a:lumOff val="25000"/>
                  </a:schemeClr>
                </a:solidFill>
                <a:latin typeface="Noto Sans"/>
                <a:ea typeface="Noto Sans"/>
                <a:cs typeface="+mn-ea"/>
                <a:sym typeface="Source Han Serif SC" panose="02020700000000000000" pitchFamily="18" charset="-122"/>
              </a:rPr>
              <a:t>Từ</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grpId="1"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childTnLst>
                          </p:cTn>
                        </p:par>
                        <p:par>
                          <p:cTn id="10" fill="hold" nodeType="afterGroup">
                            <p:stCondLst>
                              <p:cond delay="500"/>
                            </p:stCondLst>
                            <p:childTnLst>
                              <p:par>
                                <p:cTn id="11" presetID="49" presetClass="entr" presetSubtype="0" decel="10000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p:cTn id="13" dur="500" fill="hold"/>
                                        <p:tgtEl>
                                          <p:spTgt spid="12"/>
                                        </p:tgtEl>
                                        <p:attrNameLst>
                                          <p:attrName>ppt_w</p:attrName>
                                        </p:attrNameLst>
                                      </p:cBhvr>
                                      <p:tavLst>
                                        <p:tav tm="0">
                                          <p:val>
                                            <p:fltVal val="0"/>
                                          </p:val>
                                        </p:tav>
                                        <p:tav tm="100000">
                                          <p:val>
                                            <p:strVal val="#ppt_w"/>
                                          </p:val>
                                        </p:tav>
                                      </p:tavLst>
                                    </p:anim>
                                    <p:anim calcmode="lin" valueType="num">
                                      <p:cBhvr>
                                        <p:cTn id="14" dur="500" fill="hold"/>
                                        <p:tgtEl>
                                          <p:spTgt spid="12"/>
                                        </p:tgtEl>
                                        <p:attrNameLst>
                                          <p:attrName>ppt_h</p:attrName>
                                        </p:attrNameLst>
                                      </p:cBhvr>
                                      <p:tavLst>
                                        <p:tav tm="0">
                                          <p:val>
                                            <p:fltVal val="0"/>
                                          </p:val>
                                        </p:tav>
                                        <p:tav tm="100000">
                                          <p:val>
                                            <p:strVal val="#ppt_h"/>
                                          </p:val>
                                        </p:tav>
                                      </p:tavLst>
                                    </p:anim>
                                    <p:anim calcmode="lin" valueType="num">
                                      <p:cBhvr>
                                        <p:cTn id="15" dur="500" fill="hold"/>
                                        <p:tgtEl>
                                          <p:spTgt spid="12"/>
                                        </p:tgtEl>
                                        <p:attrNameLst>
                                          <p:attrName>style.rotation</p:attrName>
                                        </p:attrNameLst>
                                      </p:cBhvr>
                                      <p:tavLst>
                                        <p:tav tm="0">
                                          <p:val>
                                            <p:fltVal val="360"/>
                                          </p:val>
                                        </p:tav>
                                        <p:tav tm="100000">
                                          <p:val>
                                            <p:fltVal val="0"/>
                                          </p:val>
                                        </p:tav>
                                      </p:tavLst>
                                    </p:anim>
                                    <p:animEffect transition="in" filter="fade">
                                      <p:cBhvr>
                                        <p:cTn id="16" dur="500"/>
                                        <p:tgtEl>
                                          <p:spTgt spid="12"/>
                                        </p:tgtEl>
                                      </p:cBhvr>
                                    </p:animEffect>
                                  </p:childTnLst>
                                </p:cTn>
                              </p:par>
                            </p:childTnLst>
                          </p:cTn>
                        </p:par>
                        <p:par>
                          <p:cTn id="17" fill="hold" nodeType="afterGroup">
                            <p:stCondLst>
                              <p:cond delay="1000"/>
                            </p:stCondLst>
                            <p:childTnLst>
                              <p:par>
                                <p:cTn id="18" presetID="42" presetClass="entr" presetSubtype="0" fill="hold" nodeType="after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fade">
                                      <p:cBhvr>
                                        <p:cTn id="20" dur="500"/>
                                        <p:tgtEl>
                                          <p:spTgt spid="47"/>
                                        </p:tgtEl>
                                      </p:cBhvr>
                                    </p:animEffect>
                                    <p:anim calcmode="lin" valueType="num">
                                      <p:cBhvr>
                                        <p:cTn id="21" dur="500" fill="hold"/>
                                        <p:tgtEl>
                                          <p:spTgt spid="47"/>
                                        </p:tgtEl>
                                        <p:attrNameLst>
                                          <p:attrName>ppt_x</p:attrName>
                                        </p:attrNameLst>
                                      </p:cBhvr>
                                      <p:tavLst>
                                        <p:tav tm="0">
                                          <p:val>
                                            <p:strVal val="#ppt_x"/>
                                          </p:val>
                                        </p:tav>
                                        <p:tav tm="100000">
                                          <p:val>
                                            <p:strVal val="#ppt_x"/>
                                          </p:val>
                                        </p:tav>
                                      </p:tavLst>
                                    </p:anim>
                                    <p:anim calcmode="lin" valueType="num">
                                      <p:cBhvr>
                                        <p:cTn id="22" dur="500" fill="hold"/>
                                        <p:tgtEl>
                                          <p:spTgt spid="47"/>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anim calcmode="lin" valueType="num">
                                      <p:cBhvr>
                                        <p:cTn id="26" dur="500" fill="hold"/>
                                        <p:tgtEl>
                                          <p:spTgt spid="50"/>
                                        </p:tgtEl>
                                        <p:attrNameLst>
                                          <p:attrName>ppt_x</p:attrName>
                                        </p:attrNameLst>
                                      </p:cBhvr>
                                      <p:tavLst>
                                        <p:tav tm="0">
                                          <p:val>
                                            <p:strVal val="#ppt_x"/>
                                          </p:val>
                                        </p:tav>
                                        <p:tav tm="100000">
                                          <p:val>
                                            <p:strVal val="#ppt_x"/>
                                          </p:val>
                                        </p:tav>
                                      </p:tavLst>
                                    </p:anim>
                                    <p:anim calcmode="lin" valueType="num">
                                      <p:cBhvr>
                                        <p:cTn id="27" dur="500" fill="hold"/>
                                        <p:tgtEl>
                                          <p:spTgt spid="50"/>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anim calcmode="lin" valueType="num">
                                      <p:cBhvr>
                                        <p:cTn id="31" dur="500" fill="hold"/>
                                        <p:tgtEl>
                                          <p:spTgt spid="7"/>
                                        </p:tgtEl>
                                        <p:attrNameLst>
                                          <p:attrName>ppt_x</p:attrName>
                                        </p:attrNameLst>
                                      </p:cBhvr>
                                      <p:tavLst>
                                        <p:tav tm="0">
                                          <p:val>
                                            <p:strVal val="#ppt_x"/>
                                          </p:val>
                                        </p:tav>
                                        <p:tav tm="100000">
                                          <p:val>
                                            <p:strVal val="#ppt_x"/>
                                          </p:val>
                                        </p:tav>
                                      </p:tavLst>
                                    </p:anim>
                                    <p:anim calcmode="lin" valueType="num">
                                      <p:cBhvr>
                                        <p:cTn id="32" dur="500" fill="hold"/>
                                        <p:tgtEl>
                                          <p:spTgt spid="7"/>
                                        </p:tgtEl>
                                        <p:attrNameLst>
                                          <p:attrName>ppt_y</p:attrName>
                                        </p:attrNameLst>
                                      </p:cBhvr>
                                      <p:tavLst>
                                        <p:tav tm="0">
                                          <p:val>
                                            <p:strVal val="#ppt_y+.1"/>
                                          </p:val>
                                        </p:tav>
                                        <p:tav tm="100000">
                                          <p:val>
                                            <p:strVal val="#ppt_y"/>
                                          </p:val>
                                        </p:tav>
                                      </p:tavLst>
                                    </p:anim>
                                  </p:childTnLst>
                                </p:cTn>
                              </p:par>
                              <p:par>
                                <p:cTn id="33" presetID="47"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anim calcmode="lin" valueType="num">
                                      <p:cBhvr>
                                        <p:cTn id="36" dur="500" fill="hold"/>
                                        <p:tgtEl>
                                          <p:spTgt spid="17"/>
                                        </p:tgtEl>
                                        <p:attrNameLst>
                                          <p:attrName>ppt_x</p:attrName>
                                        </p:attrNameLst>
                                      </p:cBhvr>
                                      <p:tavLst>
                                        <p:tav tm="0">
                                          <p:val>
                                            <p:strVal val="#ppt_x"/>
                                          </p:val>
                                        </p:tav>
                                        <p:tav tm="100000">
                                          <p:val>
                                            <p:strVal val="#ppt_x"/>
                                          </p:val>
                                        </p:tav>
                                      </p:tavLst>
                                    </p:anim>
                                    <p:anim calcmode="lin" valueType="num">
                                      <p:cBhvr>
                                        <p:cTn id="37" dur="500" fill="hold"/>
                                        <p:tgtEl>
                                          <p:spTgt spid="17"/>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45"/>
                                        </p:tgtEl>
                                        <p:attrNameLst>
                                          <p:attrName>style.visibility</p:attrName>
                                        </p:attrNameLst>
                                      </p:cBhvr>
                                      <p:to>
                                        <p:strVal val="visible"/>
                                      </p:to>
                                    </p:set>
                                    <p:animEffect transition="in" filter="fade">
                                      <p:cBhvr>
                                        <p:cTn id="40" dur="500"/>
                                        <p:tgtEl>
                                          <p:spTgt spid="45"/>
                                        </p:tgtEl>
                                      </p:cBhvr>
                                    </p:animEffect>
                                    <p:anim calcmode="lin" valueType="num">
                                      <p:cBhvr>
                                        <p:cTn id="41" dur="500" fill="hold"/>
                                        <p:tgtEl>
                                          <p:spTgt spid="45"/>
                                        </p:tgtEl>
                                        <p:attrNameLst>
                                          <p:attrName>ppt_x</p:attrName>
                                        </p:attrNameLst>
                                      </p:cBhvr>
                                      <p:tavLst>
                                        <p:tav tm="0">
                                          <p:val>
                                            <p:strVal val="#ppt_x"/>
                                          </p:val>
                                        </p:tav>
                                        <p:tav tm="100000">
                                          <p:val>
                                            <p:strVal val="#ppt_x"/>
                                          </p:val>
                                        </p:tav>
                                      </p:tavLst>
                                    </p:anim>
                                    <p:anim calcmode="lin" valueType="num">
                                      <p:cBhvr>
                                        <p:cTn id="42" dur="500" fill="hold"/>
                                        <p:tgtEl>
                                          <p:spTgt spid="45"/>
                                        </p:tgtEl>
                                        <p:attrNameLst>
                                          <p:attrName>ppt_y</p:attrName>
                                        </p:attrNameLst>
                                      </p:cBhvr>
                                      <p:tavLst>
                                        <p:tav tm="0">
                                          <p:val>
                                            <p:strVal val="#ppt_y+.1"/>
                                          </p:val>
                                        </p:tav>
                                        <p:tav tm="100000">
                                          <p:val>
                                            <p:strVal val="#ppt_y"/>
                                          </p:val>
                                        </p:tav>
                                      </p:tavLst>
                                    </p:anim>
                                  </p:childTnLst>
                                </p:cTn>
                              </p:par>
                              <p:par>
                                <p:cTn id="43" presetID="47" presetClass="entr" presetSubtype="0" fill="hold" grpId="0" nodeType="withEffect">
                                  <p:stCondLst>
                                    <p:cond delay="0"/>
                                  </p:stCondLst>
                                  <p:childTnLst>
                                    <p:set>
                                      <p:cBhvr>
                                        <p:cTn id="44" dur="1" fill="hold">
                                          <p:stCondLst>
                                            <p:cond delay="0"/>
                                          </p:stCondLst>
                                        </p:cTn>
                                        <p:tgtEl>
                                          <p:spTgt spid="46"/>
                                        </p:tgtEl>
                                        <p:attrNameLst>
                                          <p:attrName>style.visibility</p:attrName>
                                        </p:attrNameLst>
                                      </p:cBhvr>
                                      <p:to>
                                        <p:strVal val="visible"/>
                                      </p:to>
                                    </p:set>
                                    <p:animEffect transition="in" filter="fade">
                                      <p:cBhvr>
                                        <p:cTn id="45" dur="500"/>
                                        <p:tgtEl>
                                          <p:spTgt spid="46"/>
                                        </p:tgtEl>
                                      </p:cBhvr>
                                    </p:animEffect>
                                    <p:anim calcmode="lin" valueType="num">
                                      <p:cBhvr>
                                        <p:cTn id="46" dur="500" fill="hold"/>
                                        <p:tgtEl>
                                          <p:spTgt spid="46"/>
                                        </p:tgtEl>
                                        <p:attrNameLst>
                                          <p:attrName>ppt_x</p:attrName>
                                        </p:attrNameLst>
                                      </p:cBhvr>
                                      <p:tavLst>
                                        <p:tav tm="0">
                                          <p:val>
                                            <p:strVal val="#ppt_x"/>
                                          </p:val>
                                        </p:tav>
                                        <p:tav tm="100000">
                                          <p:val>
                                            <p:strVal val="#ppt_x"/>
                                          </p:val>
                                        </p:tav>
                                      </p:tavLst>
                                    </p:anim>
                                    <p:anim calcmode="lin" valueType="num">
                                      <p:cBhvr>
                                        <p:cTn id="47" dur="500" fill="hold"/>
                                        <p:tgtEl>
                                          <p:spTgt spid="46"/>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500"/>
                                        <p:tgtEl>
                                          <p:spTgt spid="43"/>
                                        </p:tgtEl>
                                      </p:cBhvr>
                                    </p:animEffect>
                                    <p:anim calcmode="lin" valueType="num">
                                      <p:cBhvr>
                                        <p:cTn id="51" dur="500" fill="hold"/>
                                        <p:tgtEl>
                                          <p:spTgt spid="43"/>
                                        </p:tgtEl>
                                        <p:attrNameLst>
                                          <p:attrName>ppt_x</p:attrName>
                                        </p:attrNameLst>
                                      </p:cBhvr>
                                      <p:tavLst>
                                        <p:tav tm="0">
                                          <p:val>
                                            <p:strVal val="#ppt_x"/>
                                          </p:val>
                                        </p:tav>
                                        <p:tav tm="100000">
                                          <p:val>
                                            <p:strVal val="#ppt_x"/>
                                          </p:val>
                                        </p:tav>
                                      </p:tavLst>
                                    </p:anim>
                                    <p:anim calcmode="lin" valueType="num">
                                      <p:cBhvr>
                                        <p:cTn id="52" dur="500" fill="hold"/>
                                        <p:tgtEl>
                                          <p:spTgt spid="43"/>
                                        </p:tgtEl>
                                        <p:attrNameLst>
                                          <p:attrName>ppt_y</p:attrName>
                                        </p:attrNameLst>
                                      </p:cBhvr>
                                      <p:tavLst>
                                        <p:tav tm="0">
                                          <p:val>
                                            <p:strVal val="#ppt_y+.1"/>
                                          </p:val>
                                        </p:tav>
                                        <p:tav tm="100000">
                                          <p:val>
                                            <p:strVal val="#ppt_y"/>
                                          </p:val>
                                        </p:tav>
                                      </p:tavLst>
                                    </p:anim>
                                  </p:childTnLst>
                                </p:cTn>
                              </p:par>
                              <p:par>
                                <p:cTn id="53" presetID="47" presetClass="entr" presetSubtype="0" fill="hold" grpId="0" nodeType="withEffect">
                                  <p:stCondLst>
                                    <p:cond delay="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anim calcmode="lin" valueType="num">
                                      <p:cBhvr>
                                        <p:cTn id="56" dur="500" fill="hold"/>
                                        <p:tgtEl>
                                          <p:spTgt spid="44"/>
                                        </p:tgtEl>
                                        <p:attrNameLst>
                                          <p:attrName>ppt_x</p:attrName>
                                        </p:attrNameLst>
                                      </p:cBhvr>
                                      <p:tavLst>
                                        <p:tav tm="0">
                                          <p:val>
                                            <p:strVal val="#ppt_x"/>
                                          </p:val>
                                        </p:tav>
                                        <p:tav tm="100000">
                                          <p:val>
                                            <p:strVal val="#ppt_x"/>
                                          </p:val>
                                        </p:tav>
                                      </p:tavLst>
                                    </p:anim>
                                    <p:anim calcmode="lin" valueType="num">
                                      <p:cBhvr>
                                        <p:cTn id="57" dur="50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6" grpId="0" animBg="1"/>
      <p:bldP spid="20"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55" name="组合 54"/>
          <p:cNvGrpSpPr/>
          <p:nvPr/>
        </p:nvGrpSpPr>
        <p:grpSpPr>
          <a:xfrm>
            <a:off x="3845560" y="584836"/>
            <a:ext cx="4501515" cy="763138"/>
            <a:chOff x="-214879" y="1137968"/>
            <a:chExt cx="8607213" cy="763093"/>
          </a:xfrm>
        </p:grpSpPr>
        <p:sp>
          <p:nvSpPr>
            <p:cNvPr id="56" name="文本框 55"/>
            <p:cNvSpPr txBox="1"/>
            <p:nvPr/>
          </p:nvSpPr>
          <p:spPr>
            <a:xfrm>
              <a:off x="1679218" y="1137968"/>
              <a:ext cx="4817805" cy="457173"/>
            </a:xfrm>
            <a:prstGeom prst="rect">
              <a:avLst/>
            </a:prstGeom>
            <a:noFill/>
          </p:spPr>
          <p:txBody>
            <a:bodyPr wrap="square" rtlCol="0">
              <a:normAutofit/>
            </a:bodyPr>
            <a:lstStyle/>
            <a:p>
              <a:pPr algn="ctr"/>
              <a:r>
                <a:rPr lang="vi-VN" altLang="vi-VN" sz="2400">
                  <a:solidFill>
                    <a:srgbClr val="004195"/>
                  </a:solidFill>
                  <a:latin typeface="Noto Sans"/>
                  <a:ea typeface="Noto Sans"/>
                  <a:cs typeface="+mn-ea"/>
                  <a:sym typeface="Source Han Serif SC" panose="02020700000000000000" pitchFamily="18" charset="-122"/>
                </a:rPr>
                <a:t>Phân tích rủi</a:t>
              </a:r>
            </a:p>
          </p:txBody>
        </p:sp>
        <p:sp>
          <p:nvSpPr>
            <p:cNvPr id="57" name="文本框 56"/>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grpSp>
        <p:nvGrpSpPr>
          <p:cNvPr id="14" name="组合 13"/>
          <p:cNvGrpSpPr/>
          <p:nvPr/>
        </p:nvGrpSpPr>
        <p:grpSpPr>
          <a:xfrm>
            <a:off x="5161915" y="1867535"/>
            <a:ext cx="447040" cy="447040"/>
            <a:chOff x="8551" y="3523"/>
            <a:chExt cx="704" cy="704"/>
          </a:xfrm>
          <a:solidFill>
            <a:srgbClr val="004195"/>
          </a:solidFill>
        </p:grpSpPr>
        <p:sp>
          <p:nvSpPr>
            <p:cNvPr id="15" name="Oval 14"/>
            <p:cNvSpPr/>
            <p:nvPr/>
          </p:nvSpPr>
          <p:spPr>
            <a:xfrm>
              <a:off x="8551" y="3523"/>
              <a:ext cx="704" cy="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6" name="Shape 2539"/>
            <p:cNvSpPr/>
            <p:nvPr/>
          </p:nvSpPr>
          <p:spPr>
            <a:xfrm>
              <a:off x="8676" y="3719"/>
              <a:ext cx="450" cy="307"/>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grpFill/>
            <a:ln w="12700">
              <a:solidFill>
                <a:schemeClr val="bg1"/>
              </a:solidFill>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nvGrpSpPr>
          <p:cNvPr id="13" name="组合 12"/>
          <p:cNvGrpSpPr/>
          <p:nvPr/>
        </p:nvGrpSpPr>
        <p:grpSpPr>
          <a:xfrm>
            <a:off x="5161915" y="3041650"/>
            <a:ext cx="447040" cy="447040"/>
            <a:chOff x="8551" y="4816"/>
            <a:chExt cx="704" cy="704"/>
          </a:xfrm>
          <a:solidFill>
            <a:srgbClr val="0067CC"/>
          </a:solidFill>
        </p:grpSpPr>
        <p:sp>
          <p:nvSpPr>
            <p:cNvPr id="17" name="Oval 16"/>
            <p:cNvSpPr/>
            <p:nvPr/>
          </p:nvSpPr>
          <p:spPr>
            <a:xfrm>
              <a:off x="8551" y="4816"/>
              <a:ext cx="704" cy="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8" name="Shape 2539"/>
            <p:cNvSpPr/>
            <p:nvPr/>
          </p:nvSpPr>
          <p:spPr>
            <a:xfrm>
              <a:off x="8676" y="5013"/>
              <a:ext cx="450" cy="307"/>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grpFill/>
            <a:ln w="12700">
              <a:solidFill>
                <a:schemeClr val="bg1"/>
              </a:solidFill>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nvGrpSpPr>
          <p:cNvPr id="12" name="组合 11"/>
          <p:cNvGrpSpPr/>
          <p:nvPr/>
        </p:nvGrpSpPr>
        <p:grpSpPr>
          <a:xfrm>
            <a:off x="5177155" y="4086225"/>
            <a:ext cx="447040" cy="447040"/>
            <a:chOff x="8551" y="6152"/>
            <a:chExt cx="704" cy="704"/>
          </a:xfrm>
          <a:solidFill>
            <a:srgbClr val="004195"/>
          </a:solidFill>
        </p:grpSpPr>
        <p:sp>
          <p:nvSpPr>
            <p:cNvPr id="19" name="Oval 18"/>
            <p:cNvSpPr/>
            <p:nvPr/>
          </p:nvSpPr>
          <p:spPr>
            <a:xfrm>
              <a:off x="8551" y="6152"/>
              <a:ext cx="704" cy="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0" name="Shape 2539"/>
            <p:cNvSpPr/>
            <p:nvPr/>
          </p:nvSpPr>
          <p:spPr>
            <a:xfrm>
              <a:off x="8676" y="6348"/>
              <a:ext cx="450" cy="307"/>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grpFill/>
            <a:ln w="12700">
              <a:solidFill>
                <a:schemeClr val="bg1"/>
              </a:solidFill>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nvGrpSpPr>
          <p:cNvPr id="11" name="组合 10"/>
          <p:cNvGrpSpPr/>
          <p:nvPr/>
        </p:nvGrpSpPr>
        <p:grpSpPr>
          <a:xfrm>
            <a:off x="5193030" y="5174615"/>
            <a:ext cx="447040" cy="447040"/>
            <a:chOff x="8551" y="7488"/>
            <a:chExt cx="704" cy="704"/>
          </a:xfrm>
          <a:solidFill>
            <a:srgbClr val="0067CC"/>
          </a:solidFill>
        </p:grpSpPr>
        <p:sp>
          <p:nvSpPr>
            <p:cNvPr id="21" name="Oval 20"/>
            <p:cNvSpPr/>
            <p:nvPr/>
          </p:nvSpPr>
          <p:spPr>
            <a:xfrm>
              <a:off x="8551" y="7488"/>
              <a:ext cx="704" cy="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2" name="Shape 2539"/>
            <p:cNvSpPr/>
            <p:nvPr/>
          </p:nvSpPr>
          <p:spPr>
            <a:xfrm>
              <a:off x="8676" y="7684"/>
              <a:ext cx="450" cy="307"/>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grpFill/>
            <a:ln w="12700">
              <a:solidFill>
                <a:schemeClr val="bg1"/>
              </a:solidFill>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sp>
        <p:nvSpPr>
          <p:cNvPr id="3" name="Text Box 10"/>
          <p:cNvSpPr txBox="1">
            <a:spLocks noChangeArrowheads="1"/>
          </p:cNvSpPr>
          <p:nvPr/>
        </p:nvSpPr>
        <p:spPr bwMode="auto">
          <a:xfrm>
            <a:off x="5880100" y="1753870"/>
            <a:ext cx="5634990" cy="565936"/>
          </a:xfrm>
          <a:prstGeom prst="rect">
            <a:avLst/>
          </a:prstGeom>
          <a:noFill/>
          <a:ln w="9525">
            <a:noFill/>
            <a:miter lim="800000"/>
          </a:ln>
        </p:spPr>
        <p:txBody>
          <a:bodyPr wrap="square" lIns="60960" tIns="30480" rIns="60960" bIns="3048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04000"/>
              </a:lnSpc>
            </a:pPr>
            <a:r>
              <a:rPr lang="vi-VN" altLang="vi-VN" sz="1600">
                <a:solidFill>
                  <a:schemeClr val="tx1">
                    <a:lumMod val="75000"/>
                    <a:lumOff val="25000"/>
                  </a:schemeClr>
                </a:solidFill>
                <a:latin typeface="Noto Sans"/>
                <a:ea typeface="Noto Sans"/>
                <a:cs typeface="+mn-ea"/>
                <a:sym typeface="Source Han Serif SC" panose="02020700000000000000" pitchFamily="18" charset="-122"/>
              </a:rPr>
              <a:t>Bấm vào đây để nhập nội dung văn bản Bấm vào đây để nhập nội dung văn bản Bấm vào đây để nhập nội dung</a:t>
            </a:r>
          </a:p>
        </p:txBody>
      </p:sp>
      <p:sp>
        <p:nvSpPr>
          <p:cNvPr id="5" name="Text Box 10"/>
          <p:cNvSpPr txBox="1">
            <a:spLocks noChangeArrowheads="1"/>
          </p:cNvSpPr>
          <p:nvPr/>
        </p:nvSpPr>
        <p:spPr bwMode="auto">
          <a:xfrm>
            <a:off x="5880100" y="2867025"/>
            <a:ext cx="5634990" cy="565936"/>
          </a:xfrm>
          <a:prstGeom prst="rect">
            <a:avLst/>
          </a:prstGeom>
          <a:noFill/>
          <a:ln w="9525">
            <a:noFill/>
            <a:miter lim="800000"/>
          </a:ln>
        </p:spPr>
        <p:txBody>
          <a:bodyPr wrap="square" lIns="60960" tIns="30480" rIns="60960" bIns="3048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04000"/>
              </a:lnSpc>
            </a:pPr>
            <a:r>
              <a:rPr lang="vi-VN" altLang="vi-VN" sz="1600">
                <a:solidFill>
                  <a:schemeClr val="tx1">
                    <a:lumMod val="75000"/>
                    <a:lumOff val="25000"/>
                  </a:schemeClr>
                </a:solidFill>
                <a:latin typeface="Noto Sans"/>
                <a:ea typeface="Noto Sans"/>
                <a:cs typeface="+mn-ea"/>
                <a:sym typeface="Source Han Serif SC" panose="02020700000000000000" pitchFamily="18" charset="-122"/>
              </a:rPr>
              <a:t>Bấm vào đây để nhập nội dung văn bản Bấm vào đây để nhập nội dung văn bản Bấm vào đây để nhập nội dung</a:t>
            </a:r>
          </a:p>
        </p:txBody>
      </p:sp>
      <p:sp>
        <p:nvSpPr>
          <p:cNvPr id="6" name="Text Box 10"/>
          <p:cNvSpPr txBox="1">
            <a:spLocks noChangeArrowheads="1"/>
          </p:cNvSpPr>
          <p:nvPr/>
        </p:nvSpPr>
        <p:spPr bwMode="auto">
          <a:xfrm>
            <a:off x="5880100" y="3957955"/>
            <a:ext cx="5635625" cy="565936"/>
          </a:xfrm>
          <a:prstGeom prst="rect">
            <a:avLst/>
          </a:prstGeom>
          <a:noFill/>
          <a:ln w="9525">
            <a:noFill/>
            <a:miter lim="800000"/>
          </a:ln>
        </p:spPr>
        <p:txBody>
          <a:bodyPr wrap="square" lIns="60960" tIns="30480" rIns="60960" bIns="3048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04000"/>
              </a:lnSpc>
            </a:pPr>
            <a:r>
              <a:rPr lang="vi-VN" altLang="vi-VN" sz="1600">
                <a:solidFill>
                  <a:schemeClr val="tx1">
                    <a:lumMod val="75000"/>
                    <a:lumOff val="25000"/>
                  </a:schemeClr>
                </a:solidFill>
                <a:latin typeface="Noto Sans"/>
                <a:ea typeface="Noto Sans"/>
                <a:cs typeface="+mn-ea"/>
                <a:sym typeface="Source Han Serif SC" panose="02020700000000000000" pitchFamily="18" charset="-122"/>
              </a:rPr>
              <a:t>Bấm vào đây để nhập nội dung văn bản Bấm vào đây để nhập nội dung văn bản Bấm vào đây để nhập nội dung</a:t>
            </a:r>
          </a:p>
        </p:txBody>
      </p:sp>
      <p:sp>
        <p:nvSpPr>
          <p:cNvPr id="7" name="Text Box 10"/>
          <p:cNvSpPr txBox="1">
            <a:spLocks noChangeArrowheads="1"/>
          </p:cNvSpPr>
          <p:nvPr/>
        </p:nvSpPr>
        <p:spPr bwMode="auto">
          <a:xfrm>
            <a:off x="5880735" y="5048250"/>
            <a:ext cx="5634990" cy="565936"/>
          </a:xfrm>
          <a:prstGeom prst="rect">
            <a:avLst/>
          </a:prstGeom>
          <a:noFill/>
          <a:ln w="9525">
            <a:noFill/>
            <a:miter lim="800000"/>
          </a:ln>
        </p:spPr>
        <p:txBody>
          <a:bodyPr wrap="square" lIns="60960" tIns="30480" rIns="60960" bIns="3048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04000"/>
              </a:lnSpc>
            </a:pPr>
            <a:r>
              <a:rPr lang="vi-VN" altLang="vi-VN" sz="1600">
                <a:solidFill>
                  <a:schemeClr val="tx1">
                    <a:lumMod val="75000"/>
                    <a:lumOff val="25000"/>
                  </a:schemeClr>
                </a:solidFill>
                <a:latin typeface="Noto Sans"/>
                <a:ea typeface="Noto Sans"/>
                <a:cs typeface="+mn-ea"/>
                <a:sym typeface="Source Han Serif SC" panose="02020700000000000000" pitchFamily="18" charset="-122"/>
              </a:rPr>
              <a:t>Bấm vào đây để nhập nội dung văn bản Bấm vào đây để nhập nội dung văn bản Bấm vào đây để nhập nội dung</a:t>
            </a:r>
          </a:p>
        </p:txBody>
      </p:sp>
      <p:grpSp>
        <p:nvGrpSpPr>
          <p:cNvPr id="30" name="组合 29"/>
          <p:cNvGrpSpPr/>
          <p:nvPr/>
        </p:nvGrpSpPr>
        <p:grpSpPr>
          <a:xfrm>
            <a:off x="775970" y="1555750"/>
            <a:ext cx="3576320" cy="4117340"/>
            <a:chOff x="1188" y="2177"/>
            <a:chExt cx="5632" cy="7388"/>
          </a:xfrm>
          <a:blipFill rotWithShape="1">
            <a:blip r:embed="rId3"/>
            <a:tile tx="0" ty="0" sx="100000" sy="100000" flip="none" algn="ctr"/>
          </a:blipFill>
        </p:grpSpPr>
        <p:grpSp>
          <p:nvGrpSpPr>
            <p:cNvPr id="28" name="组合 27"/>
            <p:cNvGrpSpPr/>
            <p:nvPr/>
          </p:nvGrpSpPr>
          <p:grpSpPr>
            <a:xfrm>
              <a:off x="1188" y="2177"/>
              <a:ext cx="3702" cy="7388"/>
              <a:chOff x="1691" y="1867"/>
              <a:chExt cx="2184" cy="7388"/>
            </a:xfrm>
            <a:grpFill/>
          </p:grpSpPr>
          <p:sp>
            <p:nvSpPr>
              <p:cNvPr id="26" name="圆角矩形 25"/>
              <p:cNvSpPr/>
              <p:nvPr/>
            </p:nvSpPr>
            <p:spPr>
              <a:xfrm>
                <a:off x="1691" y="2558"/>
                <a:ext cx="1008" cy="669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7" name="圆角矩形 26"/>
              <p:cNvSpPr/>
              <p:nvPr/>
            </p:nvSpPr>
            <p:spPr>
              <a:xfrm>
                <a:off x="2830" y="1867"/>
                <a:ext cx="1045" cy="653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sp>
          <p:nvSpPr>
            <p:cNvPr id="29" name="圆角矩形 28"/>
            <p:cNvSpPr/>
            <p:nvPr/>
          </p:nvSpPr>
          <p:spPr>
            <a:xfrm>
              <a:off x="5112" y="2868"/>
              <a:ext cx="1708" cy="669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F321BE0E-081D-4857-B7F1-BBFB929DEA96}"/>
              </a:ext>
            </a:extLst>
          </p:cNvPr>
          <p:cNvSpPr txBox="1"/>
          <p:nvPr/>
        </p:nvSpPr>
        <p:spPr>
          <a:xfrm>
            <a:off x="2289175" y="2099944"/>
            <a:ext cx="7969885" cy="1066800"/>
          </a:xfrm>
          <a:prstGeom prst="rect">
            <a:avLst/>
          </a:prstGeom>
          <a:noFill/>
        </p:spPr>
        <p:txBody>
          <a:bodyPr wrap="square" rtlCol="0">
            <a:normAutofit/>
          </a:bodyPr>
          <a:lstStyle/>
          <a:p>
            <a:pPr algn="dist"/>
            <a:r>
              <a:rPr lang="vi-VN" altLang="vi-VN" sz="6400" b="1">
                <a:solidFill>
                  <a:schemeClr val="accent2">
                    <a:alpha val="50000"/>
                  </a:schemeClr>
                </a:solidFill>
                <a:latin typeface="Noto Sans"/>
                <a:ea typeface="Noto Sans"/>
                <a:cs typeface="+mn-ea"/>
                <a:sym typeface="Source Han Serif SC" panose="02020700000000000000" pitchFamily="18" charset="-122"/>
              </a:rPr>
              <a:t>VIỆC KINH DOANH</a:t>
            </a:r>
          </a:p>
        </p:txBody>
      </p:sp>
      <p:sp>
        <p:nvSpPr>
          <p:cNvPr id="6" name="椭圆 5">
            <a:extLst>
              <a:ext uri="{FF2B5EF4-FFF2-40B4-BE49-F238E27FC236}">
                <a16:creationId xmlns:a16="http://schemas.microsoft.com/office/drawing/2014/main" id="{485AC209-B7A3-4B23-8A28-7190F34B7602}"/>
              </a:ext>
            </a:extLst>
          </p:cNvPr>
          <p:cNvSpPr/>
          <p:nvPr/>
        </p:nvSpPr>
        <p:spPr>
          <a:xfrm>
            <a:off x="3243737" y="569502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椭圆 6">
            <a:extLst>
              <a:ext uri="{FF2B5EF4-FFF2-40B4-BE49-F238E27FC236}">
                <a16:creationId xmlns:a16="http://schemas.microsoft.com/office/drawing/2014/main" id="{7F9E2E86-1077-4901-967A-571FFB14E07C}"/>
              </a:ext>
            </a:extLst>
          </p:cNvPr>
          <p:cNvSpPr/>
          <p:nvPr/>
        </p:nvSpPr>
        <p:spPr>
          <a:xfrm>
            <a:off x="566544" y="180845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 name="椭圆 7">
            <a:extLst>
              <a:ext uri="{FF2B5EF4-FFF2-40B4-BE49-F238E27FC236}">
                <a16:creationId xmlns:a16="http://schemas.microsoft.com/office/drawing/2014/main" id="{B9B02517-06E8-4034-85AC-B0BA9D70F6FC}"/>
              </a:ext>
            </a:extLst>
          </p:cNvPr>
          <p:cNvSpPr/>
          <p:nvPr/>
        </p:nvSpPr>
        <p:spPr>
          <a:xfrm>
            <a:off x="10099832" y="4661880"/>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9" name="椭圆 8">
            <a:extLst>
              <a:ext uri="{FF2B5EF4-FFF2-40B4-BE49-F238E27FC236}">
                <a16:creationId xmlns:a16="http://schemas.microsoft.com/office/drawing/2014/main" id="{7DE16723-AB2C-4B6E-A5C7-DF1EFFF9D9ED}"/>
              </a:ext>
            </a:extLst>
          </p:cNvPr>
          <p:cNvSpPr/>
          <p:nvPr/>
        </p:nvSpPr>
        <p:spPr>
          <a:xfrm>
            <a:off x="8865359" y="43050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0" name="文本框 19"/>
          <p:cNvSpPr txBox="1"/>
          <p:nvPr/>
        </p:nvSpPr>
        <p:spPr>
          <a:xfrm>
            <a:off x="3423285" y="2840355"/>
            <a:ext cx="5344795" cy="914400"/>
          </a:xfrm>
          <a:prstGeom prst="rect">
            <a:avLst/>
          </a:prstGeom>
          <a:noFill/>
        </p:spPr>
        <p:txBody>
          <a:bodyPr wrap="square" rtlCol="0">
            <a:normAutofit/>
          </a:bodyPr>
          <a:lstStyle/>
          <a:p>
            <a:pPr algn="ctr"/>
            <a:r>
              <a:rPr lang="vi-VN" altLang="vi-VN" sz="5400">
                <a:solidFill>
                  <a:schemeClr val="bg1"/>
                </a:solidFill>
                <a:latin typeface="Noto Sans"/>
                <a:ea typeface="Noto Sans"/>
                <a:cs typeface="+mn-ea"/>
                <a:sym typeface="Source Han Serif SC" panose="02020700000000000000" pitchFamily="18" charset="-122"/>
              </a:rPr>
              <a:t>Lập kế hoạch</a:t>
            </a:r>
          </a:p>
        </p:txBody>
      </p:sp>
      <p:sp>
        <p:nvSpPr>
          <p:cNvPr id="21" name="文本框 20"/>
          <p:cNvSpPr txBox="1"/>
          <p:nvPr/>
        </p:nvSpPr>
        <p:spPr>
          <a:xfrm>
            <a:off x="3423285" y="4027805"/>
            <a:ext cx="5446395" cy="567017"/>
          </a:xfrm>
          <a:prstGeom prst="rect">
            <a:avLst/>
          </a:prstGeom>
          <a:noFill/>
        </p:spPr>
        <p:txBody>
          <a:bodyPr wrap="square">
            <a:normAutofit/>
          </a:bodyPr>
          <a:lstStyle/>
          <a:p>
            <a:pPr algn="ctr">
              <a:lnSpc>
                <a:spcPct val="120000"/>
              </a:lnSpc>
            </a:pPr>
            <a:r>
              <a:rPr lang="vi-VN" altLang="vi-VN" sz="1200">
                <a:solidFill>
                  <a:schemeClr val="bg1"/>
                </a:solidFill>
                <a:latin typeface="Noto Sans"/>
                <a:ea typeface="Noto Sans"/>
                <a:cs typeface="+mn-ea"/>
                <a:sym typeface="Source Han Serif SC" panose="02020700000000000000" pitchFamily="18" charset="-122"/>
              </a:rPr>
              <a:t>Ở đây bạn có thể mô tả chủ đề của phần Ở đây bạn có thể mô</a:t>
            </a:r>
          </a:p>
          <a:p>
            <a:pPr algn="ctr">
              <a:lnSpc>
                <a:spcPct val="150000"/>
              </a:lnSpc>
            </a:pPr>
            <a:endParaRPr lang="en-US" altLang="zh-CN" sz="1200">
              <a:solidFill>
                <a:schemeClr val="bg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3" name="文本框 42"/>
          <p:cNvSpPr txBox="1"/>
          <p:nvPr/>
        </p:nvSpPr>
        <p:spPr>
          <a:xfrm>
            <a:off x="3049108" y="1878567"/>
            <a:ext cx="6093228" cy="701040"/>
          </a:xfrm>
          <a:prstGeom prst="rect">
            <a:avLst/>
          </a:prstGeom>
          <a:noFill/>
        </p:spPr>
        <p:txBody>
          <a:bodyPr wrap="square">
            <a:normAutofit/>
          </a:bodyPr>
          <a:lstStyle/>
          <a:p>
            <a:pPr algn="ctr"/>
            <a:r>
              <a:rPr lang="vi-VN" altLang="vi-VN" sz="4000">
                <a:solidFill>
                  <a:schemeClr val="bg1"/>
                </a:solidFill>
                <a:latin typeface="Noto Sans"/>
                <a:ea typeface="Noto Sans"/>
                <a:cs typeface="+mn-ea"/>
                <a:sym typeface="Source Han Serif SC" panose="02020700000000000000" pitchFamily="18" charset="-122"/>
              </a:rPr>
              <a:t>PHẦN 04</a:t>
            </a: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椭圆 5">
            <a:extLst>
              <a:ext uri="{FF2B5EF4-FFF2-40B4-BE49-F238E27FC236}">
                <a16:creationId xmlns:a16="http://schemas.microsoft.com/office/drawing/2014/main" id="{6C5E6270-26FB-47E2-9114-EB81508C45AE}"/>
              </a:ext>
            </a:extLst>
          </p:cNvPr>
          <p:cNvSpPr/>
          <p:nvPr/>
        </p:nvSpPr>
        <p:spPr>
          <a:xfrm>
            <a:off x="3243737" y="569502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椭圆 6">
            <a:extLst>
              <a:ext uri="{FF2B5EF4-FFF2-40B4-BE49-F238E27FC236}">
                <a16:creationId xmlns:a16="http://schemas.microsoft.com/office/drawing/2014/main" id="{60A3DE71-09BB-4D17-B554-59A65FBECDEC}"/>
              </a:ext>
            </a:extLst>
          </p:cNvPr>
          <p:cNvSpPr/>
          <p:nvPr/>
        </p:nvSpPr>
        <p:spPr>
          <a:xfrm>
            <a:off x="566544" y="180845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 name="椭圆 7">
            <a:extLst>
              <a:ext uri="{FF2B5EF4-FFF2-40B4-BE49-F238E27FC236}">
                <a16:creationId xmlns:a16="http://schemas.microsoft.com/office/drawing/2014/main" id="{42BB076E-19ED-4A80-A65B-7DC8105846BD}"/>
              </a:ext>
            </a:extLst>
          </p:cNvPr>
          <p:cNvSpPr/>
          <p:nvPr/>
        </p:nvSpPr>
        <p:spPr>
          <a:xfrm>
            <a:off x="10099832" y="4661880"/>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9" name="椭圆 8">
            <a:extLst>
              <a:ext uri="{FF2B5EF4-FFF2-40B4-BE49-F238E27FC236}">
                <a16:creationId xmlns:a16="http://schemas.microsoft.com/office/drawing/2014/main" id="{4301B9C5-B076-4F9C-A26E-A66B97A133F6}"/>
              </a:ext>
            </a:extLst>
          </p:cNvPr>
          <p:cNvSpPr/>
          <p:nvPr/>
        </p:nvSpPr>
        <p:spPr>
          <a:xfrm>
            <a:off x="8865359" y="43050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0" name="文本框 19"/>
          <p:cNvSpPr txBox="1"/>
          <p:nvPr/>
        </p:nvSpPr>
        <p:spPr>
          <a:xfrm>
            <a:off x="1114290" y="2771342"/>
            <a:ext cx="10405163" cy="1540103"/>
          </a:xfrm>
          <a:prstGeom prst="rect">
            <a:avLst/>
          </a:prstGeom>
          <a:noFill/>
        </p:spPr>
        <p:txBody>
          <a:bodyPr wrap="square" rtlCol="0">
            <a:noAutofit/>
          </a:bodyPr>
          <a:lstStyle/>
          <a:p>
            <a:pPr algn="ctr"/>
            <a:r>
              <a:rPr lang="en-US" altLang="en-US" sz="4000" b="1">
                <a:solidFill>
                  <a:schemeClr val="bg1"/>
                </a:solidFill>
                <a:latin typeface="Times New Roman" panose="02020603050405020304" pitchFamily="18" charset="0"/>
                <a:cs typeface="Times New Roman" panose="02020603050405020304" pitchFamily="18" charset="0"/>
              </a:rPr>
              <a:t>Tính cấp thiết , mục tiêu , nội dung chính của đề tài</a:t>
            </a:r>
            <a:endParaRPr lang="vi-VN" altLang="vi-VN" sz="4000" b="1">
              <a:solidFill>
                <a:schemeClr val="bg1"/>
              </a:solidFill>
              <a:latin typeface="Times New Roman" panose="02020603050405020304" pitchFamily="18" charset="0"/>
              <a:ea typeface="Noto Sans"/>
              <a:cs typeface="Times New Roman" panose="02020603050405020304" pitchFamily="18" charset="0"/>
              <a:sym typeface="Source Han Serif SC" panose="02020700000000000000" pitchFamily="18" charset="-122"/>
            </a:endParaRPr>
          </a:p>
        </p:txBody>
      </p:sp>
      <p:sp>
        <p:nvSpPr>
          <p:cNvPr id="43" name="文本框 42"/>
          <p:cNvSpPr txBox="1"/>
          <p:nvPr/>
        </p:nvSpPr>
        <p:spPr>
          <a:xfrm>
            <a:off x="3100669" y="1701109"/>
            <a:ext cx="6093228" cy="701040"/>
          </a:xfrm>
          <a:prstGeom prst="rect">
            <a:avLst/>
          </a:prstGeom>
          <a:noFill/>
        </p:spPr>
        <p:txBody>
          <a:bodyPr wrap="square">
            <a:normAutofit/>
          </a:bodyPr>
          <a:lstStyle/>
          <a:p>
            <a:pPr algn="ctr"/>
            <a:r>
              <a:rPr lang="vi-VN" altLang="vi-VN" sz="4000" b="1">
                <a:solidFill>
                  <a:schemeClr val="bg1"/>
                </a:solidFill>
                <a:latin typeface="Noto Sans"/>
                <a:ea typeface="Noto Sans"/>
                <a:cs typeface="+mn-ea"/>
                <a:sym typeface="Source Han Serif SC" panose="02020700000000000000" pitchFamily="18" charset="-122"/>
              </a:rPr>
              <a:t>PHẦN 01</a:t>
            </a: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4" name="组合 3"/>
          <p:cNvGrpSpPr/>
          <p:nvPr/>
        </p:nvGrpSpPr>
        <p:grpSpPr>
          <a:xfrm>
            <a:off x="3845560" y="584836"/>
            <a:ext cx="4501515" cy="763138"/>
            <a:chOff x="-214879" y="1137968"/>
            <a:chExt cx="8607213" cy="763094"/>
          </a:xfrm>
        </p:grpSpPr>
        <p:sp>
          <p:nvSpPr>
            <p:cNvPr id="5" name="文本框 4"/>
            <p:cNvSpPr txBox="1"/>
            <p:nvPr/>
          </p:nvSpPr>
          <p:spPr>
            <a:xfrm>
              <a:off x="1679218" y="1137968"/>
              <a:ext cx="4817805" cy="457173"/>
            </a:xfrm>
            <a:prstGeom prst="rect">
              <a:avLst/>
            </a:prstGeom>
            <a:noFill/>
          </p:spPr>
          <p:txBody>
            <a:bodyPr wrap="square" rtlCol="0">
              <a:normAutofit lnSpcReduction="10000"/>
            </a:bodyPr>
            <a:lstStyle/>
            <a:p>
              <a:pPr algn="ctr"/>
              <a:r>
                <a:rPr lang="vi-VN" altLang="vi-VN" sz="2400">
                  <a:solidFill>
                    <a:srgbClr val="004195"/>
                  </a:solidFill>
                  <a:latin typeface="Noto Sans"/>
                  <a:ea typeface="Noto Sans"/>
                  <a:cs typeface="+mn-ea"/>
                  <a:sym typeface="Source Han Serif SC" panose="02020700000000000000" pitchFamily="18" charset="-122"/>
                </a:rPr>
                <a:t>Lập kế hoạch</a:t>
              </a:r>
            </a:p>
          </p:txBody>
        </p:sp>
        <p:sp>
          <p:nvSpPr>
            <p:cNvPr id="6" name="文本框 5"/>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cxnSp>
        <p:nvCxnSpPr>
          <p:cNvPr id="23" name="直接连接符 22"/>
          <p:cNvCxnSpPr/>
          <p:nvPr/>
        </p:nvCxnSpPr>
        <p:spPr>
          <a:xfrm>
            <a:off x="4584191" y="3766124"/>
            <a:ext cx="1432709" cy="704231"/>
          </a:xfrm>
          <a:prstGeom prst="line">
            <a:avLst/>
          </a:prstGeom>
          <a:ln w="28575">
            <a:solidFill>
              <a:srgbClr val="7A7A94"/>
            </a:solidFill>
          </a:ln>
        </p:spPr>
        <p:style>
          <a:lnRef idx="1">
            <a:schemeClr val="accent1"/>
          </a:lnRef>
          <a:fillRef idx="0">
            <a:schemeClr val="accent1"/>
          </a:fillRef>
          <a:effectRef idx="0">
            <a:schemeClr val="accent1"/>
          </a:effectRef>
          <a:fontRef idx="minor">
            <a:schemeClr val="tx1"/>
          </a:fontRef>
        </p:style>
      </p:cxnSp>
      <p:grpSp>
        <p:nvGrpSpPr>
          <p:cNvPr id="107" name="组合 106"/>
          <p:cNvGrpSpPr/>
          <p:nvPr/>
        </p:nvGrpSpPr>
        <p:grpSpPr>
          <a:xfrm>
            <a:off x="476244" y="1080135"/>
            <a:ext cx="10944226" cy="4596647"/>
            <a:chOff x="801" y="1888"/>
            <a:chExt cx="17235" cy="7239"/>
          </a:xfrm>
        </p:grpSpPr>
        <p:cxnSp>
          <p:nvCxnSpPr>
            <p:cNvPr id="21" name="直接连接符 20"/>
            <p:cNvCxnSpPr/>
            <p:nvPr/>
          </p:nvCxnSpPr>
          <p:spPr>
            <a:xfrm>
              <a:off x="2707" y="6276"/>
              <a:ext cx="2256" cy="1507"/>
            </a:xfrm>
            <a:prstGeom prst="line">
              <a:avLst/>
            </a:prstGeom>
            <a:ln w="28575">
              <a:solidFill>
                <a:srgbClr val="7A7A94"/>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flipV="1">
              <a:off x="4963" y="5931"/>
              <a:ext cx="2256" cy="1852"/>
            </a:xfrm>
            <a:prstGeom prst="line">
              <a:avLst/>
            </a:prstGeom>
            <a:ln w="28575">
              <a:solidFill>
                <a:srgbClr val="7A7A94"/>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flipV="1">
              <a:off x="9475" y="4936"/>
              <a:ext cx="2256" cy="2104"/>
            </a:xfrm>
            <a:prstGeom prst="line">
              <a:avLst/>
            </a:prstGeom>
            <a:ln w="28575">
              <a:solidFill>
                <a:srgbClr val="7A7A94"/>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11732" y="4936"/>
              <a:ext cx="2256" cy="1166"/>
            </a:xfrm>
            <a:prstGeom prst="line">
              <a:avLst/>
            </a:prstGeom>
            <a:ln w="28575">
              <a:solidFill>
                <a:srgbClr val="7A7A94"/>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flipV="1">
              <a:off x="13988" y="3994"/>
              <a:ext cx="2255" cy="2107"/>
            </a:xfrm>
            <a:prstGeom prst="line">
              <a:avLst/>
            </a:prstGeom>
            <a:ln w="28575">
              <a:solidFill>
                <a:srgbClr val="7A7A94"/>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5341" y="3838"/>
              <a:ext cx="3639" cy="1237"/>
            </a:xfrm>
            <a:prstGeom prst="rect">
              <a:avLst/>
            </a:prstGeom>
            <a:noFill/>
            <a:ln w="6350">
              <a:noFill/>
            </a:ln>
          </p:spPr>
          <p:txBody>
            <a:bodyPr wrap="square" lIns="121908" tIns="60954" rIns="121908" bIns="60954">
              <a:normAutofit/>
            </a:bodyPr>
            <a:lstStyle/>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a:t>
              </a:r>
              <a:endParaRPr lang="en-US" altLang="zh-CN" sz="16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 của bạn Nhập văn bản của</a:t>
              </a:r>
            </a:p>
          </p:txBody>
        </p:sp>
        <p:sp>
          <p:nvSpPr>
            <p:cNvPr id="28" name="矩形 27"/>
            <p:cNvSpPr/>
            <p:nvPr/>
          </p:nvSpPr>
          <p:spPr>
            <a:xfrm>
              <a:off x="9864" y="2904"/>
              <a:ext cx="3639" cy="1237"/>
            </a:xfrm>
            <a:prstGeom prst="rect">
              <a:avLst/>
            </a:prstGeom>
            <a:noFill/>
            <a:ln w="6350">
              <a:noFill/>
            </a:ln>
          </p:spPr>
          <p:txBody>
            <a:bodyPr wrap="square" lIns="121908" tIns="60954" rIns="121908" bIns="60954">
              <a:normAutofit/>
            </a:bodyPr>
            <a:lstStyle/>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a:t>
              </a:r>
              <a:endParaRPr lang="en-US" altLang="zh-CN" sz="16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 của bạn Nhập văn bản của</a:t>
              </a:r>
            </a:p>
          </p:txBody>
        </p:sp>
        <p:sp>
          <p:nvSpPr>
            <p:cNvPr id="29" name="矩形 28"/>
            <p:cNvSpPr/>
            <p:nvPr/>
          </p:nvSpPr>
          <p:spPr>
            <a:xfrm>
              <a:off x="14397" y="1888"/>
              <a:ext cx="3639" cy="1237"/>
            </a:xfrm>
            <a:prstGeom prst="rect">
              <a:avLst/>
            </a:prstGeom>
            <a:noFill/>
            <a:ln w="6350">
              <a:noFill/>
            </a:ln>
          </p:spPr>
          <p:txBody>
            <a:bodyPr wrap="square" lIns="121908" tIns="60954" rIns="121908" bIns="60954">
              <a:normAutofit/>
            </a:bodyPr>
            <a:lstStyle/>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a:t>
              </a:r>
              <a:endParaRPr lang="en-US" altLang="zh-CN" sz="16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 của bạn Nhập văn bản của</a:t>
              </a:r>
            </a:p>
          </p:txBody>
        </p:sp>
        <p:sp>
          <p:nvSpPr>
            <p:cNvPr id="30" name="矩形 29"/>
            <p:cNvSpPr/>
            <p:nvPr/>
          </p:nvSpPr>
          <p:spPr>
            <a:xfrm>
              <a:off x="3184" y="8239"/>
              <a:ext cx="3384" cy="888"/>
            </a:xfrm>
            <a:prstGeom prst="rect">
              <a:avLst/>
            </a:prstGeom>
            <a:noFill/>
            <a:ln w="6350">
              <a:noFill/>
            </a:ln>
          </p:spPr>
          <p:txBody>
            <a:bodyPr wrap="square" lIns="121908" tIns="60954" rIns="121908" bIns="60954">
              <a:normAutofit/>
            </a:bodyPr>
            <a:lstStyle/>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a:t>
              </a:r>
              <a:endParaRPr lang="en-US" altLang="zh-CN" sz="16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a:t>
              </a:r>
            </a:p>
          </p:txBody>
        </p:sp>
        <p:sp>
          <p:nvSpPr>
            <p:cNvPr id="31" name="矩形 30"/>
            <p:cNvSpPr/>
            <p:nvPr/>
          </p:nvSpPr>
          <p:spPr>
            <a:xfrm>
              <a:off x="7734" y="7561"/>
              <a:ext cx="3384" cy="888"/>
            </a:xfrm>
            <a:prstGeom prst="rect">
              <a:avLst/>
            </a:prstGeom>
            <a:noFill/>
            <a:ln w="6350">
              <a:noFill/>
            </a:ln>
          </p:spPr>
          <p:txBody>
            <a:bodyPr wrap="square" lIns="121908" tIns="60954" rIns="121908" bIns="60954">
              <a:normAutofit/>
            </a:bodyPr>
            <a:lstStyle/>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a:t>
              </a:r>
              <a:endParaRPr lang="en-US" altLang="zh-CN" sz="16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a:t>
              </a:r>
            </a:p>
          </p:txBody>
        </p:sp>
        <p:sp>
          <p:nvSpPr>
            <p:cNvPr id="32" name="矩形 31"/>
            <p:cNvSpPr/>
            <p:nvPr/>
          </p:nvSpPr>
          <p:spPr>
            <a:xfrm>
              <a:off x="12262" y="6643"/>
              <a:ext cx="3384" cy="888"/>
            </a:xfrm>
            <a:prstGeom prst="rect">
              <a:avLst/>
            </a:prstGeom>
            <a:noFill/>
            <a:ln w="6350">
              <a:noFill/>
            </a:ln>
          </p:spPr>
          <p:txBody>
            <a:bodyPr wrap="square" lIns="121908" tIns="60954" rIns="121908" bIns="60954">
              <a:normAutofit/>
            </a:bodyPr>
            <a:lstStyle/>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a:t>
              </a:r>
              <a:endParaRPr lang="en-US" altLang="zh-CN" sz="16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a:t>
              </a:r>
            </a:p>
          </p:txBody>
        </p:sp>
        <p:sp>
          <p:nvSpPr>
            <p:cNvPr id="33" name="矩形 32"/>
            <p:cNvSpPr/>
            <p:nvPr/>
          </p:nvSpPr>
          <p:spPr>
            <a:xfrm>
              <a:off x="801" y="4179"/>
              <a:ext cx="3639" cy="1237"/>
            </a:xfrm>
            <a:prstGeom prst="rect">
              <a:avLst/>
            </a:prstGeom>
            <a:noFill/>
            <a:ln w="6350">
              <a:noFill/>
            </a:ln>
          </p:spPr>
          <p:txBody>
            <a:bodyPr wrap="square" lIns="121908" tIns="60954" rIns="121908" bIns="60954">
              <a:normAutofit/>
            </a:bodyPr>
            <a:lstStyle/>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a:t>
              </a:r>
              <a:endParaRPr lang="en-US" altLang="zh-CN" sz="16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a:p>
              <a:pPr algn="ctr">
                <a:lnSpc>
                  <a:spcPct val="104000"/>
                </a:lnSpc>
              </a:pPr>
              <a:r>
                <a:rPr lang="vi-VN" altLang="vi-VN" sz="1400">
                  <a:solidFill>
                    <a:schemeClr val="tx1">
                      <a:lumMod val="75000"/>
                      <a:lumOff val="25000"/>
                    </a:schemeClr>
                  </a:solidFill>
                  <a:latin typeface="Noto Sans"/>
                  <a:ea typeface="Noto Sans"/>
                  <a:cs typeface="+mn-ea"/>
                  <a:sym typeface="Source Han Serif SC" panose="02020700000000000000" pitchFamily="18" charset="-122"/>
                </a:rPr>
                <a:t>Nhập văn bản của bạn Nhập văn bản của</a:t>
              </a:r>
            </a:p>
          </p:txBody>
        </p:sp>
        <p:grpSp>
          <p:nvGrpSpPr>
            <p:cNvPr id="34" name="组合 33"/>
            <p:cNvGrpSpPr/>
            <p:nvPr/>
          </p:nvGrpSpPr>
          <p:grpSpPr>
            <a:xfrm>
              <a:off x="2231" y="5803"/>
              <a:ext cx="946" cy="946"/>
              <a:chOff x="1590657" y="1104393"/>
              <a:chExt cx="720000" cy="720000"/>
            </a:xfrm>
          </p:grpSpPr>
          <p:sp>
            <p:nvSpPr>
              <p:cNvPr id="35" name="椭圆 34"/>
              <p:cNvSpPr/>
              <p:nvPr/>
            </p:nvSpPr>
            <p:spPr>
              <a:xfrm>
                <a:off x="1590657" y="1104393"/>
                <a:ext cx="720000" cy="720000"/>
              </a:xfrm>
              <a:prstGeom prst="ellipse">
                <a:avLst/>
              </a:prstGeom>
              <a:solidFill>
                <a:srgbClr val="0067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53" name="组合 52"/>
              <p:cNvGrpSpPr/>
              <p:nvPr/>
            </p:nvGrpSpPr>
            <p:grpSpPr>
              <a:xfrm>
                <a:off x="1724211" y="1237947"/>
                <a:ext cx="452892" cy="452892"/>
                <a:chOff x="2409825" y="6532563"/>
                <a:chExt cx="885825" cy="885825"/>
              </a:xfrm>
              <a:solidFill>
                <a:schemeClr val="bg1"/>
              </a:solidFill>
            </p:grpSpPr>
            <p:sp>
              <p:nvSpPr>
                <p:cNvPr id="54" name="Freeform 8"/>
                <p:cNvSpPr>
                  <a:spLocks noEditPoints="1"/>
                </p:cNvSpPr>
                <p:nvPr/>
              </p:nvSpPr>
              <p:spPr bwMode="auto">
                <a:xfrm>
                  <a:off x="2724150" y="6846888"/>
                  <a:ext cx="257175" cy="257175"/>
                </a:xfrm>
                <a:custGeom>
                  <a:avLst/>
                  <a:gdLst>
                    <a:gd name="T0" fmla="*/ 146 w 324"/>
                    <a:gd name="T1" fmla="*/ 0 h 324"/>
                    <a:gd name="T2" fmla="*/ 99 w 324"/>
                    <a:gd name="T3" fmla="*/ 13 h 324"/>
                    <a:gd name="T4" fmla="*/ 59 w 324"/>
                    <a:gd name="T5" fmla="*/ 36 h 324"/>
                    <a:gd name="T6" fmla="*/ 29 w 324"/>
                    <a:gd name="T7" fmla="*/ 72 h 324"/>
                    <a:gd name="T8" fmla="*/ 7 w 324"/>
                    <a:gd name="T9" fmla="*/ 113 h 324"/>
                    <a:gd name="T10" fmla="*/ 0 w 324"/>
                    <a:gd name="T11" fmla="*/ 162 h 324"/>
                    <a:gd name="T12" fmla="*/ 4 w 324"/>
                    <a:gd name="T13" fmla="*/ 194 h 324"/>
                    <a:gd name="T14" fmla="*/ 20 w 324"/>
                    <a:gd name="T15" fmla="*/ 239 h 324"/>
                    <a:gd name="T16" fmla="*/ 49 w 324"/>
                    <a:gd name="T17" fmla="*/ 275 h 324"/>
                    <a:gd name="T18" fmla="*/ 85 w 324"/>
                    <a:gd name="T19" fmla="*/ 304 h 324"/>
                    <a:gd name="T20" fmla="*/ 130 w 324"/>
                    <a:gd name="T21" fmla="*/ 320 h 324"/>
                    <a:gd name="T22" fmla="*/ 162 w 324"/>
                    <a:gd name="T23" fmla="*/ 324 h 324"/>
                    <a:gd name="T24" fmla="*/ 211 w 324"/>
                    <a:gd name="T25" fmla="*/ 317 h 324"/>
                    <a:gd name="T26" fmla="*/ 252 w 324"/>
                    <a:gd name="T27" fmla="*/ 295 h 324"/>
                    <a:gd name="T28" fmla="*/ 286 w 324"/>
                    <a:gd name="T29" fmla="*/ 265 h 324"/>
                    <a:gd name="T30" fmla="*/ 311 w 324"/>
                    <a:gd name="T31" fmla="*/ 225 h 324"/>
                    <a:gd name="T32" fmla="*/ 324 w 324"/>
                    <a:gd name="T33" fmla="*/ 178 h 324"/>
                    <a:gd name="T34" fmla="*/ 324 w 324"/>
                    <a:gd name="T35" fmla="*/ 146 h 324"/>
                    <a:gd name="T36" fmla="*/ 311 w 324"/>
                    <a:gd name="T37" fmla="*/ 99 h 324"/>
                    <a:gd name="T38" fmla="*/ 286 w 324"/>
                    <a:gd name="T39" fmla="*/ 60 h 324"/>
                    <a:gd name="T40" fmla="*/ 252 w 324"/>
                    <a:gd name="T41" fmla="*/ 27 h 324"/>
                    <a:gd name="T42" fmla="*/ 211 w 324"/>
                    <a:gd name="T43" fmla="*/ 7 h 324"/>
                    <a:gd name="T44" fmla="*/ 162 w 324"/>
                    <a:gd name="T45" fmla="*/ 0 h 324"/>
                    <a:gd name="T46" fmla="*/ 162 w 324"/>
                    <a:gd name="T47" fmla="*/ 277 h 324"/>
                    <a:gd name="T48" fmla="*/ 128 w 324"/>
                    <a:gd name="T49" fmla="*/ 272 h 324"/>
                    <a:gd name="T50" fmla="*/ 97 w 324"/>
                    <a:gd name="T51" fmla="*/ 257 h 324"/>
                    <a:gd name="T52" fmla="*/ 61 w 324"/>
                    <a:gd name="T53" fmla="*/ 216 h 324"/>
                    <a:gd name="T54" fmla="*/ 50 w 324"/>
                    <a:gd name="T55" fmla="*/ 185 h 324"/>
                    <a:gd name="T56" fmla="*/ 47 w 324"/>
                    <a:gd name="T57" fmla="*/ 162 h 324"/>
                    <a:gd name="T58" fmla="*/ 52 w 324"/>
                    <a:gd name="T59" fmla="*/ 128 h 324"/>
                    <a:gd name="T60" fmla="*/ 67 w 324"/>
                    <a:gd name="T61" fmla="*/ 97 h 324"/>
                    <a:gd name="T62" fmla="*/ 108 w 324"/>
                    <a:gd name="T63" fmla="*/ 61 h 324"/>
                    <a:gd name="T64" fmla="*/ 139 w 324"/>
                    <a:gd name="T65" fmla="*/ 49 h 324"/>
                    <a:gd name="T66" fmla="*/ 162 w 324"/>
                    <a:gd name="T67" fmla="*/ 47 h 324"/>
                    <a:gd name="T68" fmla="*/ 196 w 324"/>
                    <a:gd name="T69" fmla="*/ 52 h 324"/>
                    <a:gd name="T70" fmla="*/ 227 w 324"/>
                    <a:gd name="T71" fmla="*/ 67 h 324"/>
                    <a:gd name="T72" fmla="*/ 263 w 324"/>
                    <a:gd name="T73" fmla="*/ 106 h 324"/>
                    <a:gd name="T74" fmla="*/ 275 w 324"/>
                    <a:gd name="T75" fmla="*/ 139 h 324"/>
                    <a:gd name="T76" fmla="*/ 277 w 324"/>
                    <a:gd name="T77" fmla="*/ 162 h 324"/>
                    <a:gd name="T78" fmla="*/ 272 w 324"/>
                    <a:gd name="T79" fmla="*/ 196 h 324"/>
                    <a:gd name="T80" fmla="*/ 257 w 324"/>
                    <a:gd name="T81" fmla="*/ 227 h 324"/>
                    <a:gd name="T82" fmla="*/ 216 w 324"/>
                    <a:gd name="T83" fmla="*/ 263 h 324"/>
                    <a:gd name="T84" fmla="*/ 185 w 324"/>
                    <a:gd name="T85" fmla="*/ 274 h 324"/>
                    <a:gd name="T86" fmla="*/ 162 w 324"/>
                    <a:gd name="T87" fmla="*/ 27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4" h="324">
                      <a:moveTo>
                        <a:pt x="162" y="0"/>
                      </a:moveTo>
                      <a:lnTo>
                        <a:pt x="162" y="0"/>
                      </a:lnTo>
                      <a:lnTo>
                        <a:pt x="146" y="0"/>
                      </a:lnTo>
                      <a:lnTo>
                        <a:pt x="130" y="4"/>
                      </a:lnTo>
                      <a:lnTo>
                        <a:pt x="113" y="7"/>
                      </a:lnTo>
                      <a:lnTo>
                        <a:pt x="99" y="13"/>
                      </a:lnTo>
                      <a:lnTo>
                        <a:pt x="85" y="20"/>
                      </a:lnTo>
                      <a:lnTo>
                        <a:pt x="72" y="27"/>
                      </a:lnTo>
                      <a:lnTo>
                        <a:pt x="59" y="36"/>
                      </a:lnTo>
                      <a:lnTo>
                        <a:pt x="49" y="47"/>
                      </a:lnTo>
                      <a:lnTo>
                        <a:pt x="38" y="60"/>
                      </a:lnTo>
                      <a:lnTo>
                        <a:pt x="29" y="72"/>
                      </a:lnTo>
                      <a:lnTo>
                        <a:pt x="20" y="85"/>
                      </a:lnTo>
                      <a:lnTo>
                        <a:pt x="13" y="99"/>
                      </a:lnTo>
                      <a:lnTo>
                        <a:pt x="7" y="113"/>
                      </a:lnTo>
                      <a:lnTo>
                        <a:pt x="4" y="130"/>
                      </a:lnTo>
                      <a:lnTo>
                        <a:pt x="2" y="146"/>
                      </a:lnTo>
                      <a:lnTo>
                        <a:pt x="0" y="162"/>
                      </a:lnTo>
                      <a:lnTo>
                        <a:pt x="0" y="162"/>
                      </a:lnTo>
                      <a:lnTo>
                        <a:pt x="2" y="178"/>
                      </a:lnTo>
                      <a:lnTo>
                        <a:pt x="4" y="194"/>
                      </a:lnTo>
                      <a:lnTo>
                        <a:pt x="7" y="211"/>
                      </a:lnTo>
                      <a:lnTo>
                        <a:pt x="13" y="225"/>
                      </a:lnTo>
                      <a:lnTo>
                        <a:pt x="20" y="239"/>
                      </a:lnTo>
                      <a:lnTo>
                        <a:pt x="29" y="252"/>
                      </a:lnTo>
                      <a:lnTo>
                        <a:pt x="38" y="265"/>
                      </a:lnTo>
                      <a:lnTo>
                        <a:pt x="49" y="275"/>
                      </a:lnTo>
                      <a:lnTo>
                        <a:pt x="59" y="286"/>
                      </a:lnTo>
                      <a:lnTo>
                        <a:pt x="72" y="295"/>
                      </a:lnTo>
                      <a:lnTo>
                        <a:pt x="85" y="304"/>
                      </a:lnTo>
                      <a:lnTo>
                        <a:pt x="99" y="311"/>
                      </a:lnTo>
                      <a:lnTo>
                        <a:pt x="113" y="317"/>
                      </a:lnTo>
                      <a:lnTo>
                        <a:pt x="130" y="320"/>
                      </a:lnTo>
                      <a:lnTo>
                        <a:pt x="146" y="322"/>
                      </a:lnTo>
                      <a:lnTo>
                        <a:pt x="162" y="324"/>
                      </a:lnTo>
                      <a:lnTo>
                        <a:pt x="162" y="324"/>
                      </a:lnTo>
                      <a:lnTo>
                        <a:pt x="178" y="322"/>
                      </a:lnTo>
                      <a:lnTo>
                        <a:pt x="194" y="320"/>
                      </a:lnTo>
                      <a:lnTo>
                        <a:pt x="211" y="317"/>
                      </a:lnTo>
                      <a:lnTo>
                        <a:pt x="225" y="311"/>
                      </a:lnTo>
                      <a:lnTo>
                        <a:pt x="239" y="304"/>
                      </a:lnTo>
                      <a:lnTo>
                        <a:pt x="252" y="295"/>
                      </a:lnTo>
                      <a:lnTo>
                        <a:pt x="265" y="286"/>
                      </a:lnTo>
                      <a:lnTo>
                        <a:pt x="277" y="275"/>
                      </a:lnTo>
                      <a:lnTo>
                        <a:pt x="286" y="265"/>
                      </a:lnTo>
                      <a:lnTo>
                        <a:pt x="297" y="252"/>
                      </a:lnTo>
                      <a:lnTo>
                        <a:pt x="304" y="239"/>
                      </a:lnTo>
                      <a:lnTo>
                        <a:pt x="311" y="225"/>
                      </a:lnTo>
                      <a:lnTo>
                        <a:pt x="317" y="211"/>
                      </a:lnTo>
                      <a:lnTo>
                        <a:pt x="320" y="194"/>
                      </a:lnTo>
                      <a:lnTo>
                        <a:pt x="324" y="178"/>
                      </a:lnTo>
                      <a:lnTo>
                        <a:pt x="324" y="162"/>
                      </a:lnTo>
                      <a:lnTo>
                        <a:pt x="324" y="162"/>
                      </a:lnTo>
                      <a:lnTo>
                        <a:pt x="324" y="146"/>
                      </a:lnTo>
                      <a:lnTo>
                        <a:pt x="320" y="130"/>
                      </a:lnTo>
                      <a:lnTo>
                        <a:pt x="317" y="113"/>
                      </a:lnTo>
                      <a:lnTo>
                        <a:pt x="311" y="99"/>
                      </a:lnTo>
                      <a:lnTo>
                        <a:pt x="304" y="85"/>
                      </a:lnTo>
                      <a:lnTo>
                        <a:pt x="297" y="72"/>
                      </a:lnTo>
                      <a:lnTo>
                        <a:pt x="286" y="60"/>
                      </a:lnTo>
                      <a:lnTo>
                        <a:pt x="277" y="47"/>
                      </a:lnTo>
                      <a:lnTo>
                        <a:pt x="265" y="36"/>
                      </a:lnTo>
                      <a:lnTo>
                        <a:pt x="252" y="27"/>
                      </a:lnTo>
                      <a:lnTo>
                        <a:pt x="239" y="20"/>
                      </a:lnTo>
                      <a:lnTo>
                        <a:pt x="225" y="13"/>
                      </a:lnTo>
                      <a:lnTo>
                        <a:pt x="211" y="7"/>
                      </a:lnTo>
                      <a:lnTo>
                        <a:pt x="194" y="4"/>
                      </a:lnTo>
                      <a:lnTo>
                        <a:pt x="178" y="0"/>
                      </a:lnTo>
                      <a:lnTo>
                        <a:pt x="162" y="0"/>
                      </a:lnTo>
                      <a:lnTo>
                        <a:pt x="162" y="0"/>
                      </a:lnTo>
                      <a:close/>
                      <a:moveTo>
                        <a:pt x="162" y="277"/>
                      </a:moveTo>
                      <a:lnTo>
                        <a:pt x="162" y="277"/>
                      </a:lnTo>
                      <a:lnTo>
                        <a:pt x="151" y="275"/>
                      </a:lnTo>
                      <a:lnTo>
                        <a:pt x="139" y="274"/>
                      </a:lnTo>
                      <a:lnTo>
                        <a:pt x="128" y="272"/>
                      </a:lnTo>
                      <a:lnTo>
                        <a:pt x="117" y="268"/>
                      </a:lnTo>
                      <a:lnTo>
                        <a:pt x="108" y="263"/>
                      </a:lnTo>
                      <a:lnTo>
                        <a:pt x="97" y="257"/>
                      </a:lnTo>
                      <a:lnTo>
                        <a:pt x="81" y="243"/>
                      </a:lnTo>
                      <a:lnTo>
                        <a:pt x="67" y="227"/>
                      </a:lnTo>
                      <a:lnTo>
                        <a:pt x="61" y="216"/>
                      </a:lnTo>
                      <a:lnTo>
                        <a:pt x="56" y="207"/>
                      </a:lnTo>
                      <a:lnTo>
                        <a:pt x="52" y="196"/>
                      </a:lnTo>
                      <a:lnTo>
                        <a:pt x="50" y="185"/>
                      </a:lnTo>
                      <a:lnTo>
                        <a:pt x="49" y="173"/>
                      </a:lnTo>
                      <a:lnTo>
                        <a:pt x="47" y="162"/>
                      </a:lnTo>
                      <a:lnTo>
                        <a:pt x="47" y="162"/>
                      </a:lnTo>
                      <a:lnTo>
                        <a:pt x="49" y="149"/>
                      </a:lnTo>
                      <a:lnTo>
                        <a:pt x="50" y="139"/>
                      </a:lnTo>
                      <a:lnTo>
                        <a:pt x="52" y="128"/>
                      </a:lnTo>
                      <a:lnTo>
                        <a:pt x="56" y="117"/>
                      </a:lnTo>
                      <a:lnTo>
                        <a:pt x="61" y="106"/>
                      </a:lnTo>
                      <a:lnTo>
                        <a:pt x="67" y="97"/>
                      </a:lnTo>
                      <a:lnTo>
                        <a:pt x="81" y="81"/>
                      </a:lnTo>
                      <a:lnTo>
                        <a:pt x="97" y="67"/>
                      </a:lnTo>
                      <a:lnTo>
                        <a:pt x="108" y="61"/>
                      </a:lnTo>
                      <a:lnTo>
                        <a:pt x="117" y="56"/>
                      </a:lnTo>
                      <a:lnTo>
                        <a:pt x="128" y="52"/>
                      </a:lnTo>
                      <a:lnTo>
                        <a:pt x="139" y="49"/>
                      </a:lnTo>
                      <a:lnTo>
                        <a:pt x="151" y="47"/>
                      </a:lnTo>
                      <a:lnTo>
                        <a:pt x="162" y="47"/>
                      </a:lnTo>
                      <a:lnTo>
                        <a:pt x="162" y="47"/>
                      </a:lnTo>
                      <a:lnTo>
                        <a:pt x="175" y="47"/>
                      </a:lnTo>
                      <a:lnTo>
                        <a:pt x="185" y="49"/>
                      </a:lnTo>
                      <a:lnTo>
                        <a:pt x="196" y="52"/>
                      </a:lnTo>
                      <a:lnTo>
                        <a:pt x="207" y="56"/>
                      </a:lnTo>
                      <a:lnTo>
                        <a:pt x="216" y="61"/>
                      </a:lnTo>
                      <a:lnTo>
                        <a:pt x="227" y="67"/>
                      </a:lnTo>
                      <a:lnTo>
                        <a:pt x="243" y="81"/>
                      </a:lnTo>
                      <a:lnTo>
                        <a:pt x="257" y="97"/>
                      </a:lnTo>
                      <a:lnTo>
                        <a:pt x="263" y="106"/>
                      </a:lnTo>
                      <a:lnTo>
                        <a:pt x="268" y="117"/>
                      </a:lnTo>
                      <a:lnTo>
                        <a:pt x="272" y="128"/>
                      </a:lnTo>
                      <a:lnTo>
                        <a:pt x="275" y="139"/>
                      </a:lnTo>
                      <a:lnTo>
                        <a:pt x="277" y="149"/>
                      </a:lnTo>
                      <a:lnTo>
                        <a:pt x="277" y="162"/>
                      </a:lnTo>
                      <a:lnTo>
                        <a:pt x="277" y="162"/>
                      </a:lnTo>
                      <a:lnTo>
                        <a:pt x="277" y="173"/>
                      </a:lnTo>
                      <a:lnTo>
                        <a:pt x="275" y="185"/>
                      </a:lnTo>
                      <a:lnTo>
                        <a:pt x="272" y="196"/>
                      </a:lnTo>
                      <a:lnTo>
                        <a:pt x="268" y="207"/>
                      </a:lnTo>
                      <a:lnTo>
                        <a:pt x="263" y="216"/>
                      </a:lnTo>
                      <a:lnTo>
                        <a:pt x="257" y="227"/>
                      </a:lnTo>
                      <a:lnTo>
                        <a:pt x="243" y="243"/>
                      </a:lnTo>
                      <a:lnTo>
                        <a:pt x="227" y="257"/>
                      </a:lnTo>
                      <a:lnTo>
                        <a:pt x="216" y="263"/>
                      </a:lnTo>
                      <a:lnTo>
                        <a:pt x="207" y="268"/>
                      </a:lnTo>
                      <a:lnTo>
                        <a:pt x="196" y="272"/>
                      </a:lnTo>
                      <a:lnTo>
                        <a:pt x="185" y="274"/>
                      </a:lnTo>
                      <a:lnTo>
                        <a:pt x="175" y="275"/>
                      </a:lnTo>
                      <a:lnTo>
                        <a:pt x="162" y="277"/>
                      </a:lnTo>
                      <a:lnTo>
                        <a:pt x="162" y="2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55" name="Freeform 9"/>
                <p:cNvSpPr>
                  <a:spLocks noEditPoints="1"/>
                </p:cNvSpPr>
                <p:nvPr/>
              </p:nvSpPr>
              <p:spPr bwMode="auto">
                <a:xfrm>
                  <a:off x="2409825" y="6532563"/>
                  <a:ext cx="885825" cy="885825"/>
                </a:xfrm>
                <a:custGeom>
                  <a:avLst/>
                  <a:gdLst>
                    <a:gd name="T0" fmla="*/ 992 w 1116"/>
                    <a:gd name="T1" fmla="*/ 294 h 1116"/>
                    <a:gd name="T2" fmla="*/ 954 w 1116"/>
                    <a:gd name="T3" fmla="*/ 162 h 1116"/>
                    <a:gd name="T4" fmla="*/ 866 w 1116"/>
                    <a:gd name="T5" fmla="*/ 121 h 1116"/>
                    <a:gd name="T6" fmla="*/ 779 w 1116"/>
                    <a:gd name="T7" fmla="*/ 141 h 1116"/>
                    <a:gd name="T8" fmla="*/ 646 w 1116"/>
                    <a:gd name="T9" fmla="*/ 29 h 1116"/>
                    <a:gd name="T10" fmla="*/ 511 w 1116"/>
                    <a:gd name="T11" fmla="*/ 7 h 1116"/>
                    <a:gd name="T12" fmla="*/ 418 w 1116"/>
                    <a:gd name="T13" fmla="*/ 106 h 1116"/>
                    <a:gd name="T14" fmla="*/ 266 w 1116"/>
                    <a:gd name="T15" fmla="*/ 121 h 1116"/>
                    <a:gd name="T16" fmla="*/ 185 w 1116"/>
                    <a:gd name="T17" fmla="*/ 144 h 1116"/>
                    <a:gd name="T18" fmla="*/ 122 w 1116"/>
                    <a:gd name="T19" fmla="*/ 247 h 1116"/>
                    <a:gd name="T20" fmla="*/ 106 w 1116"/>
                    <a:gd name="T21" fmla="*/ 418 h 1116"/>
                    <a:gd name="T22" fmla="*/ 7 w 1116"/>
                    <a:gd name="T23" fmla="*/ 509 h 1116"/>
                    <a:gd name="T24" fmla="*/ 31 w 1116"/>
                    <a:gd name="T25" fmla="*/ 646 h 1116"/>
                    <a:gd name="T26" fmla="*/ 140 w 1116"/>
                    <a:gd name="T27" fmla="*/ 778 h 1116"/>
                    <a:gd name="T28" fmla="*/ 135 w 1116"/>
                    <a:gd name="T29" fmla="*/ 913 h 1116"/>
                    <a:gd name="T30" fmla="*/ 211 w 1116"/>
                    <a:gd name="T31" fmla="*/ 985 h 1116"/>
                    <a:gd name="T32" fmla="*/ 302 w 1116"/>
                    <a:gd name="T33" fmla="*/ 990 h 1116"/>
                    <a:gd name="T34" fmla="*/ 427 w 1116"/>
                    <a:gd name="T35" fmla="*/ 1031 h 1116"/>
                    <a:gd name="T36" fmla="*/ 558 w 1116"/>
                    <a:gd name="T37" fmla="*/ 1116 h 1116"/>
                    <a:gd name="T38" fmla="*/ 679 w 1116"/>
                    <a:gd name="T39" fmla="*/ 1051 h 1116"/>
                    <a:gd name="T40" fmla="*/ 796 w 1116"/>
                    <a:gd name="T41" fmla="*/ 985 h 1116"/>
                    <a:gd name="T42" fmla="*/ 866 w 1116"/>
                    <a:gd name="T43" fmla="*/ 994 h 1116"/>
                    <a:gd name="T44" fmla="*/ 954 w 1116"/>
                    <a:gd name="T45" fmla="*/ 952 h 1116"/>
                    <a:gd name="T46" fmla="*/ 992 w 1116"/>
                    <a:gd name="T47" fmla="*/ 823 h 1116"/>
                    <a:gd name="T48" fmla="*/ 1031 w 1116"/>
                    <a:gd name="T49" fmla="*/ 689 h 1116"/>
                    <a:gd name="T50" fmla="*/ 1116 w 1116"/>
                    <a:gd name="T51" fmla="*/ 558 h 1116"/>
                    <a:gd name="T52" fmla="*/ 1053 w 1116"/>
                    <a:gd name="T53" fmla="*/ 438 h 1116"/>
                    <a:gd name="T54" fmla="*/ 927 w 1116"/>
                    <a:gd name="T55" fmla="*/ 644 h 1116"/>
                    <a:gd name="T56" fmla="*/ 887 w 1116"/>
                    <a:gd name="T57" fmla="*/ 815 h 1116"/>
                    <a:gd name="T58" fmla="*/ 893 w 1116"/>
                    <a:gd name="T59" fmla="*/ 878 h 1116"/>
                    <a:gd name="T60" fmla="*/ 851 w 1116"/>
                    <a:gd name="T61" fmla="*/ 902 h 1116"/>
                    <a:gd name="T62" fmla="*/ 758 w 1116"/>
                    <a:gd name="T63" fmla="*/ 880 h 1116"/>
                    <a:gd name="T64" fmla="*/ 608 w 1116"/>
                    <a:gd name="T65" fmla="*/ 972 h 1116"/>
                    <a:gd name="T66" fmla="*/ 578 w 1116"/>
                    <a:gd name="T67" fmla="*/ 1019 h 1116"/>
                    <a:gd name="T68" fmla="*/ 522 w 1116"/>
                    <a:gd name="T69" fmla="*/ 1008 h 1116"/>
                    <a:gd name="T70" fmla="*/ 472 w 1116"/>
                    <a:gd name="T71" fmla="*/ 927 h 1116"/>
                    <a:gd name="T72" fmla="*/ 301 w 1116"/>
                    <a:gd name="T73" fmla="*/ 886 h 1116"/>
                    <a:gd name="T74" fmla="*/ 238 w 1116"/>
                    <a:gd name="T75" fmla="*/ 893 h 1116"/>
                    <a:gd name="T76" fmla="*/ 216 w 1116"/>
                    <a:gd name="T77" fmla="*/ 841 h 1116"/>
                    <a:gd name="T78" fmla="*/ 221 w 1116"/>
                    <a:gd name="T79" fmla="*/ 731 h 1116"/>
                    <a:gd name="T80" fmla="*/ 133 w 1116"/>
                    <a:gd name="T81" fmla="*/ 607 h 1116"/>
                    <a:gd name="T82" fmla="*/ 94 w 1116"/>
                    <a:gd name="T83" fmla="*/ 558 h 1116"/>
                    <a:gd name="T84" fmla="*/ 124 w 1116"/>
                    <a:gd name="T85" fmla="*/ 511 h 1116"/>
                    <a:gd name="T86" fmla="*/ 209 w 1116"/>
                    <a:gd name="T87" fmla="*/ 412 h 1116"/>
                    <a:gd name="T88" fmla="*/ 218 w 1116"/>
                    <a:gd name="T89" fmla="*/ 285 h 1116"/>
                    <a:gd name="T90" fmla="*/ 230 w 1116"/>
                    <a:gd name="T91" fmla="*/ 229 h 1116"/>
                    <a:gd name="T92" fmla="*/ 293 w 1116"/>
                    <a:gd name="T93" fmla="*/ 223 h 1116"/>
                    <a:gd name="T94" fmla="*/ 441 w 1116"/>
                    <a:gd name="T95" fmla="*/ 198 h 1116"/>
                    <a:gd name="T96" fmla="*/ 517 w 1116"/>
                    <a:gd name="T97" fmla="*/ 115 h 1116"/>
                    <a:gd name="T98" fmla="*/ 569 w 1116"/>
                    <a:gd name="T99" fmla="*/ 94 h 1116"/>
                    <a:gd name="T100" fmla="*/ 608 w 1116"/>
                    <a:gd name="T101" fmla="*/ 144 h 1116"/>
                    <a:gd name="T102" fmla="*/ 758 w 1116"/>
                    <a:gd name="T103" fmla="*/ 236 h 1116"/>
                    <a:gd name="T104" fmla="*/ 851 w 1116"/>
                    <a:gd name="T105" fmla="*/ 214 h 1116"/>
                    <a:gd name="T106" fmla="*/ 898 w 1116"/>
                    <a:gd name="T107" fmla="*/ 247 h 1116"/>
                    <a:gd name="T108" fmla="*/ 860 w 1116"/>
                    <a:gd name="T109" fmla="*/ 328 h 1116"/>
                    <a:gd name="T110" fmla="*/ 936 w 1116"/>
                    <a:gd name="T111" fmla="*/ 508 h 1116"/>
                    <a:gd name="T112" fmla="*/ 1013 w 1116"/>
                    <a:gd name="T113" fmla="*/ 529 h 1116"/>
                    <a:gd name="T114" fmla="*/ 1013 w 1116"/>
                    <a:gd name="T115" fmla="*/ 587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16" h="1116">
                      <a:moveTo>
                        <a:pt x="1010" y="418"/>
                      </a:moveTo>
                      <a:lnTo>
                        <a:pt x="1010" y="418"/>
                      </a:lnTo>
                      <a:lnTo>
                        <a:pt x="995" y="376"/>
                      </a:lnTo>
                      <a:lnTo>
                        <a:pt x="976" y="337"/>
                      </a:lnTo>
                      <a:lnTo>
                        <a:pt x="976" y="337"/>
                      </a:lnTo>
                      <a:lnTo>
                        <a:pt x="986" y="315"/>
                      </a:lnTo>
                      <a:lnTo>
                        <a:pt x="992" y="294"/>
                      </a:lnTo>
                      <a:lnTo>
                        <a:pt x="995" y="270"/>
                      </a:lnTo>
                      <a:lnTo>
                        <a:pt x="994" y="247"/>
                      </a:lnTo>
                      <a:lnTo>
                        <a:pt x="990" y="223"/>
                      </a:lnTo>
                      <a:lnTo>
                        <a:pt x="981" y="202"/>
                      </a:lnTo>
                      <a:lnTo>
                        <a:pt x="968" y="182"/>
                      </a:lnTo>
                      <a:lnTo>
                        <a:pt x="954" y="162"/>
                      </a:lnTo>
                      <a:lnTo>
                        <a:pt x="954" y="162"/>
                      </a:lnTo>
                      <a:lnTo>
                        <a:pt x="943" y="153"/>
                      </a:lnTo>
                      <a:lnTo>
                        <a:pt x="931" y="144"/>
                      </a:lnTo>
                      <a:lnTo>
                        <a:pt x="920" y="137"/>
                      </a:lnTo>
                      <a:lnTo>
                        <a:pt x="905" y="132"/>
                      </a:lnTo>
                      <a:lnTo>
                        <a:pt x="893" y="126"/>
                      </a:lnTo>
                      <a:lnTo>
                        <a:pt x="878" y="123"/>
                      </a:lnTo>
                      <a:lnTo>
                        <a:pt x="866" y="121"/>
                      </a:lnTo>
                      <a:lnTo>
                        <a:pt x="851" y="121"/>
                      </a:lnTo>
                      <a:lnTo>
                        <a:pt x="851" y="121"/>
                      </a:lnTo>
                      <a:lnTo>
                        <a:pt x="832" y="123"/>
                      </a:lnTo>
                      <a:lnTo>
                        <a:pt x="814" y="126"/>
                      </a:lnTo>
                      <a:lnTo>
                        <a:pt x="796" y="132"/>
                      </a:lnTo>
                      <a:lnTo>
                        <a:pt x="779" y="141"/>
                      </a:lnTo>
                      <a:lnTo>
                        <a:pt x="779" y="141"/>
                      </a:lnTo>
                      <a:lnTo>
                        <a:pt x="740" y="121"/>
                      </a:lnTo>
                      <a:lnTo>
                        <a:pt x="698" y="106"/>
                      </a:lnTo>
                      <a:lnTo>
                        <a:pt x="698" y="106"/>
                      </a:lnTo>
                      <a:lnTo>
                        <a:pt x="689" y="85"/>
                      </a:lnTo>
                      <a:lnTo>
                        <a:pt x="679" y="63"/>
                      </a:lnTo>
                      <a:lnTo>
                        <a:pt x="664" y="45"/>
                      </a:lnTo>
                      <a:lnTo>
                        <a:pt x="646" y="29"/>
                      </a:lnTo>
                      <a:lnTo>
                        <a:pt x="626" y="16"/>
                      </a:lnTo>
                      <a:lnTo>
                        <a:pt x="607" y="7"/>
                      </a:lnTo>
                      <a:lnTo>
                        <a:pt x="583" y="2"/>
                      </a:lnTo>
                      <a:lnTo>
                        <a:pt x="558" y="0"/>
                      </a:lnTo>
                      <a:lnTo>
                        <a:pt x="558" y="0"/>
                      </a:lnTo>
                      <a:lnTo>
                        <a:pt x="535" y="2"/>
                      </a:lnTo>
                      <a:lnTo>
                        <a:pt x="511" y="7"/>
                      </a:lnTo>
                      <a:lnTo>
                        <a:pt x="490" y="16"/>
                      </a:lnTo>
                      <a:lnTo>
                        <a:pt x="470" y="29"/>
                      </a:lnTo>
                      <a:lnTo>
                        <a:pt x="452" y="45"/>
                      </a:lnTo>
                      <a:lnTo>
                        <a:pt x="437" y="63"/>
                      </a:lnTo>
                      <a:lnTo>
                        <a:pt x="427" y="85"/>
                      </a:lnTo>
                      <a:lnTo>
                        <a:pt x="418" y="106"/>
                      </a:lnTo>
                      <a:lnTo>
                        <a:pt x="418" y="106"/>
                      </a:lnTo>
                      <a:lnTo>
                        <a:pt x="378" y="121"/>
                      </a:lnTo>
                      <a:lnTo>
                        <a:pt x="338" y="141"/>
                      </a:lnTo>
                      <a:lnTo>
                        <a:pt x="338" y="141"/>
                      </a:lnTo>
                      <a:lnTo>
                        <a:pt x="320" y="132"/>
                      </a:lnTo>
                      <a:lnTo>
                        <a:pt x="302" y="126"/>
                      </a:lnTo>
                      <a:lnTo>
                        <a:pt x="284" y="123"/>
                      </a:lnTo>
                      <a:lnTo>
                        <a:pt x="266" y="121"/>
                      </a:lnTo>
                      <a:lnTo>
                        <a:pt x="266" y="121"/>
                      </a:lnTo>
                      <a:lnTo>
                        <a:pt x="252" y="121"/>
                      </a:lnTo>
                      <a:lnTo>
                        <a:pt x="238" y="123"/>
                      </a:lnTo>
                      <a:lnTo>
                        <a:pt x="223" y="126"/>
                      </a:lnTo>
                      <a:lnTo>
                        <a:pt x="211" y="132"/>
                      </a:lnTo>
                      <a:lnTo>
                        <a:pt x="198" y="137"/>
                      </a:lnTo>
                      <a:lnTo>
                        <a:pt x="185" y="144"/>
                      </a:lnTo>
                      <a:lnTo>
                        <a:pt x="175" y="153"/>
                      </a:lnTo>
                      <a:lnTo>
                        <a:pt x="164" y="162"/>
                      </a:lnTo>
                      <a:lnTo>
                        <a:pt x="164" y="162"/>
                      </a:lnTo>
                      <a:lnTo>
                        <a:pt x="148" y="182"/>
                      </a:lnTo>
                      <a:lnTo>
                        <a:pt x="135" y="202"/>
                      </a:lnTo>
                      <a:lnTo>
                        <a:pt x="126" y="223"/>
                      </a:lnTo>
                      <a:lnTo>
                        <a:pt x="122" y="247"/>
                      </a:lnTo>
                      <a:lnTo>
                        <a:pt x="121" y="270"/>
                      </a:lnTo>
                      <a:lnTo>
                        <a:pt x="124" y="294"/>
                      </a:lnTo>
                      <a:lnTo>
                        <a:pt x="130" y="315"/>
                      </a:lnTo>
                      <a:lnTo>
                        <a:pt x="140" y="337"/>
                      </a:lnTo>
                      <a:lnTo>
                        <a:pt x="140" y="337"/>
                      </a:lnTo>
                      <a:lnTo>
                        <a:pt x="121" y="376"/>
                      </a:lnTo>
                      <a:lnTo>
                        <a:pt x="106" y="418"/>
                      </a:lnTo>
                      <a:lnTo>
                        <a:pt x="106" y="418"/>
                      </a:lnTo>
                      <a:lnTo>
                        <a:pt x="85" y="427"/>
                      </a:lnTo>
                      <a:lnTo>
                        <a:pt x="65" y="438"/>
                      </a:lnTo>
                      <a:lnTo>
                        <a:pt x="45" y="452"/>
                      </a:lnTo>
                      <a:lnTo>
                        <a:pt x="31" y="470"/>
                      </a:lnTo>
                      <a:lnTo>
                        <a:pt x="18" y="488"/>
                      </a:lnTo>
                      <a:lnTo>
                        <a:pt x="7" y="509"/>
                      </a:lnTo>
                      <a:lnTo>
                        <a:pt x="2" y="533"/>
                      </a:lnTo>
                      <a:lnTo>
                        <a:pt x="0" y="558"/>
                      </a:lnTo>
                      <a:lnTo>
                        <a:pt x="0" y="558"/>
                      </a:lnTo>
                      <a:lnTo>
                        <a:pt x="2" y="581"/>
                      </a:lnTo>
                      <a:lnTo>
                        <a:pt x="7" y="605"/>
                      </a:lnTo>
                      <a:lnTo>
                        <a:pt x="18" y="626"/>
                      </a:lnTo>
                      <a:lnTo>
                        <a:pt x="31" y="646"/>
                      </a:lnTo>
                      <a:lnTo>
                        <a:pt x="45" y="664"/>
                      </a:lnTo>
                      <a:lnTo>
                        <a:pt x="65" y="679"/>
                      </a:lnTo>
                      <a:lnTo>
                        <a:pt x="85" y="689"/>
                      </a:lnTo>
                      <a:lnTo>
                        <a:pt x="106" y="697"/>
                      </a:lnTo>
                      <a:lnTo>
                        <a:pt x="106" y="697"/>
                      </a:lnTo>
                      <a:lnTo>
                        <a:pt x="121" y="738"/>
                      </a:lnTo>
                      <a:lnTo>
                        <a:pt x="140" y="778"/>
                      </a:lnTo>
                      <a:lnTo>
                        <a:pt x="140" y="778"/>
                      </a:lnTo>
                      <a:lnTo>
                        <a:pt x="130" y="799"/>
                      </a:lnTo>
                      <a:lnTo>
                        <a:pt x="124" y="823"/>
                      </a:lnTo>
                      <a:lnTo>
                        <a:pt x="121" y="846"/>
                      </a:lnTo>
                      <a:lnTo>
                        <a:pt x="122" y="869"/>
                      </a:lnTo>
                      <a:lnTo>
                        <a:pt x="126" y="891"/>
                      </a:lnTo>
                      <a:lnTo>
                        <a:pt x="135" y="913"/>
                      </a:lnTo>
                      <a:lnTo>
                        <a:pt x="148" y="934"/>
                      </a:lnTo>
                      <a:lnTo>
                        <a:pt x="164" y="952"/>
                      </a:lnTo>
                      <a:lnTo>
                        <a:pt x="164" y="952"/>
                      </a:lnTo>
                      <a:lnTo>
                        <a:pt x="175" y="963"/>
                      </a:lnTo>
                      <a:lnTo>
                        <a:pt x="185" y="970"/>
                      </a:lnTo>
                      <a:lnTo>
                        <a:pt x="198" y="977"/>
                      </a:lnTo>
                      <a:lnTo>
                        <a:pt x="211" y="985"/>
                      </a:lnTo>
                      <a:lnTo>
                        <a:pt x="223" y="988"/>
                      </a:lnTo>
                      <a:lnTo>
                        <a:pt x="238" y="992"/>
                      </a:lnTo>
                      <a:lnTo>
                        <a:pt x="252" y="994"/>
                      </a:lnTo>
                      <a:lnTo>
                        <a:pt x="266" y="995"/>
                      </a:lnTo>
                      <a:lnTo>
                        <a:pt x="266" y="995"/>
                      </a:lnTo>
                      <a:lnTo>
                        <a:pt x="284" y="994"/>
                      </a:lnTo>
                      <a:lnTo>
                        <a:pt x="302" y="990"/>
                      </a:lnTo>
                      <a:lnTo>
                        <a:pt x="320" y="985"/>
                      </a:lnTo>
                      <a:lnTo>
                        <a:pt x="338" y="976"/>
                      </a:lnTo>
                      <a:lnTo>
                        <a:pt x="338" y="976"/>
                      </a:lnTo>
                      <a:lnTo>
                        <a:pt x="378" y="994"/>
                      </a:lnTo>
                      <a:lnTo>
                        <a:pt x="418" y="1010"/>
                      </a:lnTo>
                      <a:lnTo>
                        <a:pt x="418" y="1010"/>
                      </a:lnTo>
                      <a:lnTo>
                        <a:pt x="427" y="1031"/>
                      </a:lnTo>
                      <a:lnTo>
                        <a:pt x="437" y="1051"/>
                      </a:lnTo>
                      <a:lnTo>
                        <a:pt x="452" y="1071"/>
                      </a:lnTo>
                      <a:lnTo>
                        <a:pt x="470" y="1085"/>
                      </a:lnTo>
                      <a:lnTo>
                        <a:pt x="490" y="1098"/>
                      </a:lnTo>
                      <a:lnTo>
                        <a:pt x="511" y="1109"/>
                      </a:lnTo>
                      <a:lnTo>
                        <a:pt x="535" y="1114"/>
                      </a:lnTo>
                      <a:lnTo>
                        <a:pt x="558" y="1116"/>
                      </a:lnTo>
                      <a:lnTo>
                        <a:pt x="558" y="1116"/>
                      </a:lnTo>
                      <a:lnTo>
                        <a:pt x="583" y="1114"/>
                      </a:lnTo>
                      <a:lnTo>
                        <a:pt x="607" y="1109"/>
                      </a:lnTo>
                      <a:lnTo>
                        <a:pt x="626" y="1098"/>
                      </a:lnTo>
                      <a:lnTo>
                        <a:pt x="646" y="1085"/>
                      </a:lnTo>
                      <a:lnTo>
                        <a:pt x="664" y="1071"/>
                      </a:lnTo>
                      <a:lnTo>
                        <a:pt x="679" y="1051"/>
                      </a:lnTo>
                      <a:lnTo>
                        <a:pt x="689" y="1031"/>
                      </a:lnTo>
                      <a:lnTo>
                        <a:pt x="698" y="1010"/>
                      </a:lnTo>
                      <a:lnTo>
                        <a:pt x="698" y="1010"/>
                      </a:lnTo>
                      <a:lnTo>
                        <a:pt x="740" y="994"/>
                      </a:lnTo>
                      <a:lnTo>
                        <a:pt x="779" y="976"/>
                      </a:lnTo>
                      <a:lnTo>
                        <a:pt x="779" y="976"/>
                      </a:lnTo>
                      <a:lnTo>
                        <a:pt x="796" y="985"/>
                      </a:lnTo>
                      <a:lnTo>
                        <a:pt x="814" y="990"/>
                      </a:lnTo>
                      <a:lnTo>
                        <a:pt x="832" y="994"/>
                      </a:lnTo>
                      <a:lnTo>
                        <a:pt x="851" y="995"/>
                      </a:lnTo>
                      <a:lnTo>
                        <a:pt x="851" y="995"/>
                      </a:lnTo>
                      <a:lnTo>
                        <a:pt x="851" y="995"/>
                      </a:lnTo>
                      <a:lnTo>
                        <a:pt x="851" y="995"/>
                      </a:lnTo>
                      <a:lnTo>
                        <a:pt x="866" y="994"/>
                      </a:lnTo>
                      <a:lnTo>
                        <a:pt x="878" y="992"/>
                      </a:lnTo>
                      <a:lnTo>
                        <a:pt x="893" y="988"/>
                      </a:lnTo>
                      <a:lnTo>
                        <a:pt x="905" y="985"/>
                      </a:lnTo>
                      <a:lnTo>
                        <a:pt x="920" y="977"/>
                      </a:lnTo>
                      <a:lnTo>
                        <a:pt x="931" y="970"/>
                      </a:lnTo>
                      <a:lnTo>
                        <a:pt x="943" y="963"/>
                      </a:lnTo>
                      <a:lnTo>
                        <a:pt x="954" y="952"/>
                      </a:lnTo>
                      <a:lnTo>
                        <a:pt x="954" y="952"/>
                      </a:lnTo>
                      <a:lnTo>
                        <a:pt x="968" y="934"/>
                      </a:lnTo>
                      <a:lnTo>
                        <a:pt x="981" y="913"/>
                      </a:lnTo>
                      <a:lnTo>
                        <a:pt x="990" y="891"/>
                      </a:lnTo>
                      <a:lnTo>
                        <a:pt x="994" y="869"/>
                      </a:lnTo>
                      <a:lnTo>
                        <a:pt x="995" y="846"/>
                      </a:lnTo>
                      <a:lnTo>
                        <a:pt x="992" y="823"/>
                      </a:lnTo>
                      <a:lnTo>
                        <a:pt x="986" y="799"/>
                      </a:lnTo>
                      <a:lnTo>
                        <a:pt x="976" y="778"/>
                      </a:lnTo>
                      <a:lnTo>
                        <a:pt x="976" y="778"/>
                      </a:lnTo>
                      <a:lnTo>
                        <a:pt x="995" y="738"/>
                      </a:lnTo>
                      <a:lnTo>
                        <a:pt x="1010" y="697"/>
                      </a:lnTo>
                      <a:lnTo>
                        <a:pt x="1010" y="697"/>
                      </a:lnTo>
                      <a:lnTo>
                        <a:pt x="1031" y="689"/>
                      </a:lnTo>
                      <a:lnTo>
                        <a:pt x="1053" y="679"/>
                      </a:lnTo>
                      <a:lnTo>
                        <a:pt x="1071" y="664"/>
                      </a:lnTo>
                      <a:lnTo>
                        <a:pt x="1085" y="646"/>
                      </a:lnTo>
                      <a:lnTo>
                        <a:pt x="1100" y="626"/>
                      </a:lnTo>
                      <a:lnTo>
                        <a:pt x="1109" y="605"/>
                      </a:lnTo>
                      <a:lnTo>
                        <a:pt x="1114" y="581"/>
                      </a:lnTo>
                      <a:lnTo>
                        <a:pt x="1116" y="558"/>
                      </a:lnTo>
                      <a:lnTo>
                        <a:pt x="1116" y="558"/>
                      </a:lnTo>
                      <a:lnTo>
                        <a:pt x="1114" y="533"/>
                      </a:lnTo>
                      <a:lnTo>
                        <a:pt x="1109" y="509"/>
                      </a:lnTo>
                      <a:lnTo>
                        <a:pt x="1100" y="488"/>
                      </a:lnTo>
                      <a:lnTo>
                        <a:pt x="1085" y="470"/>
                      </a:lnTo>
                      <a:lnTo>
                        <a:pt x="1071" y="452"/>
                      </a:lnTo>
                      <a:lnTo>
                        <a:pt x="1053" y="438"/>
                      </a:lnTo>
                      <a:lnTo>
                        <a:pt x="1031" y="427"/>
                      </a:lnTo>
                      <a:lnTo>
                        <a:pt x="1010" y="418"/>
                      </a:lnTo>
                      <a:lnTo>
                        <a:pt x="1010" y="418"/>
                      </a:lnTo>
                      <a:close/>
                      <a:moveTo>
                        <a:pt x="972" y="608"/>
                      </a:moveTo>
                      <a:lnTo>
                        <a:pt x="936" y="608"/>
                      </a:lnTo>
                      <a:lnTo>
                        <a:pt x="927" y="644"/>
                      </a:lnTo>
                      <a:lnTo>
                        <a:pt x="927" y="644"/>
                      </a:lnTo>
                      <a:lnTo>
                        <a:pt x="918" y="675"/>
                      </a:lnTo>
                      <a:lnTo>
                        <a:pt x="907" y="702"/>
                      </a:lnTo>
                      <a:lnTo>
                        <a:pt x="895" y="731"/>
                      </a:lnTo>
                      <a:lnTo>
                        <a:pt x="880" y="756"/>
                      </a:lnTo>
                      <a:lnTo>
                        <a:pt x="860" y="788"/>
                      </a:lnTo>
                      <a:lnTo>
                        <a:pt x="887" y="815"/>
                      </a:lnTo>
                      <a:lnTo>
                        <a:pt x="887" y="815"/>
                      </a:lnTo>
                      <a:lnTo>
                        <a:pt x="893" y="823"/>
                      </a:lnTo>
                      <a:lnTo>
                        <a:pt x="898" y="832"/>
                      </a:lnTo>
                      <a:lnTo>
                        <a:pt x="900" y="841"/>
                      </a:lnTo>
                      <a:lnTo>
                        <a:pt x="902" y="850"/>
                      </a:lnTo>
                      <a:lnTo>
                        <a:pt x="900" y="860"/>
                      </a:lnTo>
                      <a:lnTo>
                        <a:pt x="898" y="869"/>
                      </a:lnTo>
                      <a:lnTo>
                        <a:pt x="893" y="878"/>
                      </a:lnTo>
                      <a:lnTo>
                        <a:pt x="887" y="886"/>
                      </a:lnTo>
                      <a:lnTo>
                        <a:pt x="887" y="886"/>
                      </a:lnTo>
                      <a:lnTo>
                        <a:pt x="878" y="893"/>
                      </a:lnTo>
                      <a:lnTo>
                        <a:pt x="869" y="896"/>
                      </a:lnTo>
                      <a:lnTo>
                        <a:pt x="860" y="900"/>
                      </a:lnTo>
                      <a:lnTo>
                        <a:pt x="851" y="902"/>
                      </a:lnTo>
                      <a:lnTo>
                        <a:pt x="851" y="902"/>
                      </a:lnTo>
                      <a:lnTo>
                        <a:pt x="851" y="902"/>
                      </a:lnTo>
                      <a:lnTo>
                        <a:pt x="841" y="900"/>
                      </a:lnTo>
                      <a:lnTo>
                        <a:pt x="832" y="896"/>
                      </a:lnTo>
                      <a:lnTo>
                        <a:pt x="823" y="893"/>
                      </a:lnTo>
                      <a:lnTo>
                        <a:pt x="815" y="886"/>
                      </a:lnTo>
                      <a:lnTo>
                        <a:pt x="788" y="860"/>
                      </a:lnTo>
                      <a:lnTo>
                        <a:pt x="758" y="880"/>
                      </a:lnTo>
                      <a:lnTo>
                        <a:pt x="758" y="880"/>
                      </a:lnTo>
                      <a:lnTo>
                        <a:pt x="731" y="895"/>
                      </a:lnTo>
                      <a:lnTo>
                        <a:pt x="704" y="907"/>
                      </a:lnTo>
                      <a:lnTo>
                        <a:pt x="675" y="918"/>
                      </a:lnTo>
                      <a:lnTo>
                        <a:pt x="644" y="927"/>
                      </a:lnTo>
                      <a:lnTo>
                        <a:pt x="608" y="934"/>
                      </a:lnTo>
                      <a:lnTo>
                        <a:pt x="608" y="972"/>
                      </a:lnTo>
                      <a:lnTo>
                        <a:pt x="608" y="972"/>
                      </a:lnTo>
                      <a:lnTo>
                        <a:pt x="608" y="983"/>
                      </a:lnTo>
                      <a:lnTo>
                        <a:pt x="605" y="992"/>
                      </a:lnTo>
                      <a:lnTo>
                        <a:pt x="599" y="1001"/>
                      </a:lnTo>
                      <a:lnTo>
                        <a:pt x="594" y="1008"/>
                      </a:lnTo>
                      <a:lnTo>
                        <a:pt x="587" y="1013"/>
                      </a:lnTo>
                      <a:lnTo>
                        <a:pt x="578" y="1019"/>
                      </a:lnTo>
                      <a:lnTo>
                        <a:pt x="569" y="1021"/>
                      </a:lnTo>
                      <a:lnTo>
                        <a:pt x="558" y="1022"/>
                      </a:lnTo>
                      <a:lnTo>
                        <a:pt x="558" y="1022"/>
                      </a:lnTo>
                      <a:lnTo>
                        <a:pt x="547" y="1021"/>
                      </a:lnTo>
                      <a:lnTo>
                        <a:pt x="538" y="1019"/>
                      </a:lnTo>
                      <a:lnTo>
                        <a:pt x="529" y="1013"/>
                      </a:lnTo>
                      <a:lnTo>
                        <a:pt x="522" y="1008"/>
                      </a:lnTo>
                      <a:lnTo>
                        <a:pt x="517" y="1001"/>
                      </a:lnTo>
                      <a:lnTo>
                        <a:pt x="511" y="992"/>
                      </a:lnTo>
                      <a:lnTo>
                        <a:pt x="509" y="983"/>
                      </a:lnTo>
                      <a:lnTo>
                        <a:pt x="508" y="972"/>
                      </a:lnTo>
                      <a:lnTo>
                        <a:pt x="508" y="934"/>
                      </a:lnTo>
                      <a:lnTo>
                        <a:pt x="472" y="927"/>
                      </a:lnTo>
                      <a:lnTo>
                        <a:pt x="472" y="927"/>
                      </a:lnTo>
                      <a:lnTo>
                        <a:pt x="441" y="918"/>
                      </a:lnTo>
                      <a:lnTo>
                        <a:pt x="414" y="907"/>
                      </a:lnTo>
                      <a:lnTo>
                        <a:pt x="385" y="895"/>
                      </a:lnTo>
                      <a:lnTo>
                        <a:pt x="358" y="880"/>
                      </a:lnTo>
                      <a:lnTo>
                        <a:pt x="328" y="860"/>
                      </a:lnTo>
                      <a:lnTo>
                        <a:pt x="301" y="886"/>
                      </a:lnTo>
                      <a:lnTo>
                        <a:pt x="301" y="886"/>
                      </a:lnTo>
                      <a:lnTo>
                        <a:pt x="293" y="893"/>
                      </a:lnTo>
                      <a:lnTo>
                        <a:pt x="284" y="896"/>
                      </a:lnTo>
                      <a:lnTo>
                        <a:pt x="275" y="900"/>
                      </a:lnTo>
                      <a:lnTo>
                        <a:pt x="265" y="900"/>
                      </a:lnTo>
                      <a:lnTo>
                        <a:pt x="256" y="900"/>
                      </a:lnTo>
                      <a:lnTo>
                        <a:pt x="247" y="896"/>
                      </a:lnTo>
                      <a:lnTo>
                        <a:pt x="238" y="893"/>
                      </a:lnTo>
                      <a:lnTo>
                        <a:pt x="230" y="886"/>
                      </a:lnTo>
                      <a:lnTo>
                        <a:pt x="230" y="886"/>
                      </a:lnTo>
                      <a:lnTo>
                        <a:pt x="223" y="878"/>
                      </a:lnTo>
                      <a:lnTo>
                        <a:pt x="218" y="869"/>
                      </a:lnTo>
                      <a:lnTo>
                        <a:pt x="216" y="860"/>
                      </a:lnTo>
                      <a:lnTo>
                        <a:pt x="214" y="850"/>
                      </a:lnTo>
                      <a:lnTo>
                        <a:pt x="216" y="841"/>
                      </a:lnTo>
                      <a:lnTo>
                        <a:pt x="218" y="832"/>
                      </a:lnTo>
                      <a:lnTo>
                        <a:pt x="223" y="823"/>
                      </a:lnTo>
                      <a:lnTo>
                        <a:pt x="230" y="815"/>
                      </a:lnTo>
                      <a:lnTo>
                        <a:pt x="256" y="788"/>
                      </a:lnTo>
                      <a:lnTo>
                        <a:pt x="236" y="756"/>
                      </a:lnTo>
                      <a:lnTo>
                        <a:pt x="236" y="756"/>
                      </a:lnTo>
                      <a:lnTo>
                        <a:pt x="221" y="731"/>
                      </a:lnTo>
                      <a:lnTo>
                        <a:pt x="209" y="702"/>
                      </a:lnTo>
                      <a:lnTo>
                        <a:pt x="198" y="675"/>
                      </a:lnTo>
                      <a:lnTo>
                        <a:pt x="189" y="644"/>
                      </a:lnTo>
                      <a:lnTo>
                        <a:pt x="182" y="608"/>
                      </a:lnTo>
                      <a:lnTo>
                        <a:pt x="144" y="608"/>
                      </a:lnTo>
                      <a:lnTo>
                        <a:pt x="144" y="608"/>
                      </a:lnTo>
                      <a:lnTo>
                        <a:pt x="133" y="607"/>
                      </a:lnTo>
                      <a:lnTo>
                        <a:pt x="124" y="605"/>
                      </a:lnTo>
                      <a:lnTo>
                        <a:pt x="115" y="599"/>
                      </a:lnTo>
                      <a:lnTo>
                        <a:pt x="108" y="594"/>
                      </a:lnTo>
                      <a:lnTo>
                        <a:pt x="103" y="587"/>
                      </a:lnTo>
                      <a:lnTo>
                        <a:pt x="97" y="578"/>
                      </a:lnTo>
                      <a:lnTo>
                        <a:pt x="95" y="567"/>
                      </a:lnTo>
                      <a:lnTo>
                        <a:pt x="94" y="558"/>
                      </a:lnTo>
                      <a:lnTo>
                        <a:pt x="94" y="558"/>
                      </a:lnTo>
                      <a:lnTo>
                        <a:pt x="95" y="547"/>
                      </a:lnTo>
                      <a:lnTo>
                        <a:pt x="97" y="538"/>
                      </a:lnTo>
                      <a:lnTo>
                        <a:pt x="103" y="529"/>
                      </a:lnTo>
                      <a:lnTo>
                        <a:pt x="108" y="522"/>
                      </a:lnTo>
                      <a:lnTo>
                        <a:pt x="115" y="517"/>
                      </a:lnTo>
                      <a:lnTo>
                        <a:pt x="124" y="511"/>
                      </a:lnTo>
                      <a:lnTo>
                        <a:pt x="133" y="508"/>
                      </a:lnTo>
                      <a:lnTo>
                        <a:pt x="144" y="508"/>
                      </a:lnTo>
                      <a:lnTo>
                        <a:pt x="182" y="508"/>
                      </a:lnTo>
                      <a:lnTo>
                        <a:pt x="189" y="472"/>
                      </a:lnTo>
                      <a:lnTo>
                        <a:pt x="189" y="472"/>
                      </a:lnTo>
                      <a:lnTo>
                        <a:pt x="198" y="441"/>
                      </a:lnTo>
                      <a:lnTo>
                        <a:pt x="209" y="412"/>
                      </a:lnTo>
                      <a:lnTo>
                        <a:pt x="221" y="385"/>
                      </a:lnTo>
                      <a:lnTo>
                        <a:pt x="236" y="358"/>
                      </a:lnTo>
                      <a:lnTo>
                        <a:pt x="256" y="328"/>
                      </a:lnTo>
                      <a:lnTo>
                        <a:pt x="230" y="301"/>
                      </a:lnTo>
                      <a:lnTo>
                        <a:pt x="230" y="301"/>
                      </a:lnTo>
                      <a:lnTo>
                        <a:pt x="223" y="294"/>
                      </a:lnTo>
                      <a:lnTo>
                        <a:pt x="218" y="285"/>
                      </a:lnTo>
                      <a:lnTo>
                        <a:pt x="216" y="276"/>
                      </a:lnTo>
                      <a:lnTo>
                        <a:pt x="214" y="265"/>
                      </a:lnTo>
                      <a:lnTo>
                        <a:pt x="216" y="256"/>
                      </a:lnTo>
                      <a:lnTo>
                        <a:pt x="218" y="247"/>
                      </a:lnTo>
                      <a:lnTo>
                        <a:pt x="223" y="238"/>
                      </a:lnTo>
                      <a:lnTo>
                        <a:pt x="230" y="229"/>
                      </a:lnTo>
                      <a:lnTo>
                        <a:pt x="230" y="229"/>
                      </a:lnTo>
                      <a:lnTo>
                        <a:pt x="238" y="223"/>
                      </a:lnTo>
                      <a:lnTo>
                        <a:pt x="247" y="218"/>
                      </a:lnTo>
                      <a:lnTo>
                        <a:pt x="256" y="216"/>
                      </a:lnTo>
                      <a:lnTo>
                        <a:pt x="265" y="214"/>
                      </a:lnTo>
                      <a:lnTo>
                        <a:pt x="275" y="216"/>
                      </a:lnTo>
                      <a:lnTo>
                        <a:pt x="284" y="218"/>
                      </a:lnTo>
                      <a:lnTo>
                        <a:pt x="293" y="223"/>
                      </a:lnTo>
                      <a:lnTo>
                        <a:pt x="301" y="229"/>
                      </a:lnTo>
                      <a:lnTo>
                        <a:pt x="328" y="256"/>
                      </a:lnTo>
                      <a:lnTo>
                        <a:pt x="358" y="236"/>
                      </a:lnTo>
                      <a:lnTo>
                        <a:pt x="358" y="236"/>
                      </a:lnTo>
                      <a:lnTo>
                        <a:pt x="385" y="222"/>
                      </a:lnTo>
                      <a:lnTo>
                        <a:pt x="414" y="209"/>
                      </a:lnTo>
                      <a:lnTo>
                        <a:pt x="441" y="198"/>
                      </a:lnTo>
                      <a:lnTo>
                        <a:pt x="472" y="189"/>
                      </a:lnTo>
                      <a:lnTo>
                        <a:pt x="508" y="180"/>
                      </a:lnTo>
                      <a:lnTo>
                        <a:pt x="508" y="144"/>
                      </a:lnTo>
                      <a:lnTo>
                        <a:pt x="508" y="144"/>
                      </a:lnTo>
                      <a:lnTo>
                        <a:pt x="509" y="133"/>
                      </a:lnTo>
                      <a:lnTo>
                        <a:pt x="511" y="124"/>
                      </a:lnTo>
                      <a:lnTo>
                        <a:pt x="517" y="115"/>
                      </a:lnTo>
                      <a:lnTo>
                        <a:pt x="522" y="108"/>
                      </a:lnTo>
                      <a:lnTo>
                        <a:pt x="529" y="103"/>
                      </a:lnTo>
                      <a:lnTo>
                        <a:pt x="538" y="97"/>
                      </a:lnTo>
                      <a:lnTo>
                        <a:pt x="547" y="94"/>
                      </a:lnTo>
                      <a:lnTo>
                        <a:pt x="558" y="94"/>
                      </a:lnTo>
                      <a:lnTo>
                        <a:pt x="558" y="94"/>
                      </a:lnTo>
                      <a:lnTo>
                        <a:pt x="569" y="94"/>
                      </a:lnTo>
                      <a:lnTo>
                        <a:pt x="578" y="97"/>
                      </a:lnTo>
                      <a:lnTo>
                        <a:pt x="587" y="103"/>
                      </a:lnTo>
                      <a:lnTo>
                        <a:pt x="594" y="108"/>
                      </a:lnTo>
                      <a:lnTo>
                        <a:pt x="599" y="115"/>
                      </a:lnTo>
                      <a:lnTo>
                        <a:pt x="605" y="124"/>
                      </a:lnTo>
                      <a:lnTo>
                        <a:pt x="608" y="133"/>
                      </a:lnTo>
                      <a:lnTo>
                        <a:pt x="608" y="144"/>
                      </a:lnTo>
                      <a:lnTo>
                        <a:pt x="608" y="180"/>
                      </a:lnTo>
                      <a:lnTo>
                        <a:pt x="644" y="189"/>
                      </a:lnTo>
                      <a:lnTo>
                        <a:pt x="644" y="189"/>
                      </a:lnTo>
                      <a:lnTo>
                        <a:pt x="675" y="198"/>
                      </a:lnTo>
                      <a:lnTo>
                        <a:pt x="704" y="209"/>
                      </a:lnTo>
                      <a:lnTo>
                        <a:pt x="731" y="222"/>
                      </a:lnTo>
                      <a:lnTo>
                        <a:pt x="758" y="236"/>
                      </a:lnTo>
                      <a:lnTo>
                        <a:pt x="788" y="256"/>
                      </a:lnTo>
                      <a:lnTo>
                        <a:pt x="815" y="229"/>
                      </a:lnTo>
                      <a:lnTo>
                        <a:pt x="815" y="229"/>
                      </a:lnTo>
                      <a:lnTo>
                        <a:pt x="823" y="223"/>
                      </a:lnTo>
                      <a:lnTo>
                        <a:pt x="832" y="218"/>
                      </a:lnTo>
                      <a:lnTo>
                        <a:pt x="841" y="216"/>
                      </a:lnTo>
                      <a:lnTo>
                        <a:pt x="851" y="214"/>
                      </a:lnTo>
                      <a:lnTo>
                        <a:pt x="860" y="216"/>
                      </a:lnTo>
                      <a:lnTo>
                        <a:pt x="869" y="218"/>
                      </a:lnTo>
                      <a:lnTo>
                        <a:pt x="878" y="223"/>
                      </a:lnTo>
                      <a:lnTo>
                        <a:pt x="887" y="229"/>
                      </a:lnTo>
                      <a:lnTo>
                        <a:pt x="887" y="229"/>
                      </a:lnTo>
                      <a:lnTo>
                        <a:pt x="893" y="238"/>
                      </a:lnTo>
                      <a:lnTo>
                        <a:pt x="898" y="247"/>
                      </a:lnTo>
                      <a:lnTo>
                        <a:pt x="900" y="256"/>
                      </a:lnTo>
                      <a:lnTo>
                        <a:pt x="902" y="265"/>
                      </a:lnTo>
                      <a:lnTo>
                        <a:pt x="900" y="276"/>
                      </a:lnTo>
                      <a:lnTo>
                        <a:pt x="898" y="285"/>
                      </a:lnTo>
                      <a:lnTo>
                        <a:pt x="893" y="294"/>
                      </a:lnTo>
                      <a:lnTo>
                        <a:pt x="887" y="301"/>
                      </a:lnTo>
                      <a:lnTo>
                        <a:pt x="860" y="328"/>
                      </a:lnTo>
                      <a:lnTo>
                        <a:pt x="880" y="358"/>
                      </a:lnTo>
                      <a:lnTo>
                        <a:pt x="880" y="358"/>
                      </a:lnTo>
                      <a:lnTo>
                        <a:pt x="895" y="385"/>
                      </a:lnTo>
                      <a:lnTo>
                        <a:pt x="907" y="412"/>
                      </a:lnTo>
                      <a:lnTo>
                        <a:pt x="918" y="441"/>
                      </a:lnTo>
                      <a:lnTo>
                        <a:pt x="927" y="472"/>
                      </a:lnTo>
                      <a:lnTo>
                        <a:pt x="936" y="508"/>
                      </a:lnTo>
                      <a:lnTo>
                        <a:pt x="972" y="508"/>
                      </a:lnTo>
                      <a:lnTo>
                        <a:pt x="972" y="508"/>
                      </a:lnTo>
                      <a:lnTo>
                        <a:pt x="983" y="508"/>
                      </a:lnTo>
                      <a:lnTo>
                        <a:pt x="992" y="511"/>
                      </a:lnTo>
                      <a:lnTo>
                        <a:pt x="1001" y="517"/>
                      </a:lnTo>
                      <a:lnTo>
                        <a:pt x="1008" y="522"/>
                      </a:lnTo>
                      <a:lnTo>
                        <a:pt x="1013" y="529"/>
                      </a:lnTo>
                      <a:lnTo>
                        <a:pt x="1019" y="538"/>
                      </a:lnTo>
                      <a:lnTo>
                        <a:pt x="1022" y="547"/>
                      </a:lnTo>
                      <a:lnTo>
                        <a:pt x="1022" y="558"/>
                      </a:lnTo>
                      <a:lnTo>
                        <a:pt x="1022" y="558"/>
                      </a:lnTo>
                      <a:lnTo>
                        <a:pt x="1022" y="567"/>
                      </a:lnTo>
                      <a:lnTo>
                        <a:pt x="1019" y="578"/>
                      </a:lnTo>
                      <a:lnTo>
                        <a:pt x="1013" y="587"/>
                      </a:lnTo>
                      <a:lnTo>
                        <a:pt x="1008" y="594"/>
                      </a:lnTo>
                      <a:lnTo>
                        <a:pt x="1001" y="599"/>
                      </a:lnTo>
                      <a:lnTo>
                        <a:pt x="992" y="605"/>
                      </a:lnTo>
                      <a:lnTo>
                        <a:pt x="983" y="607"/>
                      </a:lnTo>
                      <a:lnTo>
                        <a:pt x="972" y="608"/>
                      </a:lnTo>
                      <a:lnTo>
                        <a:pt x="972" y="6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56" name="Freeform 10"/>
                <p:cNvSpPr/>
                <p:nvPr/>
              </p:nvSpPr>
              <p:spPr bwMode="auto">
                <a:xfrm>
                  <a:off x="2852738" y="6713538"/>
                  <a:ext cx="261938" cy="261938"/>
                </a:xfrm>
                <a:custGeom>
                  <a:avLst/>
                  <a:gdLst>
                    <a:gd name="T0" fmla="*/ 0 w 329"/>
                    <a:gd name="T1" fmla="*/ 0 h 329"/>
                    <a:gd name="T2" fmla="*/ 0 w 329"/>
                    <a:gd name="T3" fmla="*/ 47 h 329"/>
                    <a:gd name="T4" fmla="*/ 0 w 329"/>
                    <a:gd name="T5" fmla="*/ 47 h 329"/>
                    <a:gd name="T6" fmla="*/ 29 w 329"/>
                    <a:gd name="T7" fmla="*/ 48 h 329"/>
                    <a:gd name="T8" fmla="*/ 58 w 329"/>
                    <a:gd name="T9" fmla="*/ 52 h 329"/>
                    <a:gd name="T10" fmla="*/ 85 w 329"/>
                    <a:gd name="T11" fmla="*/ 59 h 329"/>
                    <a:gd name="T12" fmla="*/ 110 w 329"/>
                    <a:gd name="T13" fmla="*/ 70 h 329"/>
                    <a:gd name="T14" fmla="*/ 135 w 329"/>
                    <a:gd name="T15" fmla="*/ 81 h 329"/>
                    <a:gd name="T16" fmla="*/ 158 w 329"/>
                    <a:gd name="T17" fmla="*/ 95 h 329"/>
                    <a:gd name="T18" fmla="*/ 180 w 329"/>
                    <a:gd name="T19" fmla="*/ 111 h 329"/>
                    <a:gd name="T20" fmla="*/ 200 w 329"/>
                    <a:gd name="T21" fmla="*/ 129 h 329"/>
                    <a:gd name="T22" fmla="*/ 218 w 329"/>
                    <a:gd name="T23" fmla="*/ 149 h 329"/>
                    <a:gd name="T24" fmla="*/ 234 w 329"/>
                    <a:gd name="T25" fmla="*/ 171 h 329"/>
                    <a:gd name="T26" fmla="*/ 248 w 329"/>
                    <a:gd name="T27" fmla="*/ 194 h 329"/>
                    <a:gd name="T28" fmla="*/ 259 w 329"/>
                    <a:gd name="T29" fmla="*/ 219 h 329"/>
                    <a:gd name="T30" fmla="*/ 270 w 329"/>
                    <a:gd name="T31" fmla="*/ 244 h 329"/>
                    <a:gd name="T32" fmla="*/ 277 w 329"/>
                    <a:gd name="T33" fmla="*/ 271 h 329"/>
                    <a:gd name="T34" fmla="*/ 281 w 329"/>
                    <a:gd name="T35" fmla="*/ 300 h 329"/>
                    <a:gd name="T36" fmla="*/ 283 w 329"/>
                    <a:gd name="T37" fmla="*/ 329 h 329"/>
                    <a:gd name="T38" fmla="*/ 329 w 329"/>
                    <a:gd name="T39" fmla="*/ 329 h 329"/>
                    <a:gd name="T40" fmla="*/ 329 w 329"/>
                    <a:gd name="T41" fmla="*/ 329 h 329"/>
                    <a:gd name="T42" fmla="*/ 328 w 329"/>
                    <a:gd name="T43" fmla="*/ 295 h 329"/>
                    <a:gd name="T44" fmla="*/ 322 w 329"/>
                    <a:gd name="T45" fmla="*/ 262 h 329"/>
                    <a:gd name="T46" fmla="*/ 315 w 329"/>
                    <a:gd name="T47" fmla="*/ 232 h 329"/>
                    <a:gd name="T48" fmla="*/ 304 w 329"/>
                    <a:gd name="T49" fmla="*/ 201 h 329"/>
                    <a:gd name="T50" fmla="*/ 290 w 329"/>
                    <a:gd name="T51" fmla="*/ 173 h 329"/>
                    <a:gd name="T52" fmla="*/ 274 w 329"/>
                    <a:gd name="T53" fmla="*/ 146 h 329"/>
                    <a:gd name="T54" fmla="*/ 254 w 329"/>
                    <a:gd name="T55" fmla="*/ 120 h 329"/>
                    <a:gd name="T56" fmla="*/ 232 w 329"/>
                    <a:gd name="T57" fmla="*/ 97 h 329"/>
                    <a:gd name="T58" fmla="*/ 209 w 329"/>
                    <a:gd name="T59" fmla="*/ 75 h 329"/>
                    <a:gd name="T60" fmla="*/ 184 w 329"/>
                    <a:gd name="T61" fmla="*/ 56 h 329"/>
                    <a:gd name="T62" fmla="*/ 157 w 329"/>
                    <a:gd name="T63" fmla="*/ 39 h 329"/>
                    <a:gd name="T64" fmla="*/ 128 w 329"/>
                    <a:gd name="T65" fmla="*/ 25 h 329"/>
                    <a:gd name="T66" fmla="*/ 97 w 329"/>
                    <a:gd name="T67" fmla="*/ 14 h 329"/>
                    <a:gd name="T68" fmla="*/ 67 w 329"/>
                    <a:gd name="T69" fmla="*/ 7 h 329"/>
                    <a:gd name="T70" fmla="*/ 34 w 329"/>
                    <a:gd name="T71" fmla="*/ 2 h 329"/>
                    <a:gd name="T72" fmla="*/ 0 w 329"/>
                    <a:gd name="T73" fmla="*/ 0 h 329"/>
                    <a:gd name="T74" fmla="*/ 0 w 329"/>
                    <a:gd name="T7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329">
                      <a:moveTo>
                        <a:pt x="0" y="0"/>
                      </a:moveTo>
                      <a:lnTo>
                        <a:pt x="0" y="47"/>
                      </a:lnTo>
                      <a:lnTo>
                        <a:pt x="0" y="47"/>
                      </a:lnTo>
                      <a:lnTo>
                        <a:pt x="29" y="48"/>
                      </a:lnTo>
                      <a:lnTo>
                        <a:pt x="58" y="52"/>
                      </a:lnTo>
                      <a:lnTo>
                        <a:pt x="85" y="59"/>
                      </a:lnTo>
                      <a:lnTo>
                        <a:pt x="110" y="70"/>
                      </a:lnTo>
                      <a:lnTo>
                        <a:pt x="135" y="81"/>
                      </a:lnTo>
                      <a:lnTo>
                        <a:pt x="158" y="95"/>
                      </a:lnTo>
                      <a:lnTo>
                        <a:pt x="180" y="111"/>
                      </a:lnTo>
                      <a:lnTo>
                        <a:pt x="200" y="129"/>
                      </a:lnTo>
                      <a:lnTo>
                        <a:pt x="218" y="149"/>
                      </a:lnTo>
                      <a:lnTo>
                        <a:pt x="234" y="171"/>
                      </a:lnTo>
                      <a:lnTo>
                        <a:pt x="248" y="194"/>
                      </a:lnTo>
                      <a:lnTo>
                        <a:pt x="259" y="219"/>
                      </a:lnTo>
                      <a:lnTo>
                        <a:pt x="270" y="244"/>
                      </a:lnTo>
                      <a:lnTo>
                        <a:pt x="277" y="271"/>
                      </a:lnTo>
                      <a:lnTo>
                        <a:pt x="281" y="300"/>
                      </a:lnTo>
                      <a:lnTo>
                        <a:pt x="283" y="329"/>
                      </a:lnTo>
                      <a:lnTo>
                        <a:pt x="329" y="329"/>
                      </a:lnTo>
                      <a:lnTo>
                        <a:pt x="329" y="329"/>
                      </a:lnTo>
                      <a:lnTo>
                        <a:pt x="328" y="295"/>
                      </a:lnTo>
                      <a:lnTo>
                        <a:pt x="322" y="262"/>
                      </a:lnTo>
                      <a:lnTo>
                        <a:pt x="315" y="232"/>
                      </a:lnTo>
                      <a:lnTo>
                        <a:pt x="304" y="201"/>
                      </a:lnTo>
                      <a:lnTo>
                        <a:pt x="290" y="173"/>
                      </a:lnTo>
                      <a:lnTo>
                        <a:pt x="274" y="146"/>
                      </a:lnTo>
                      <a:lnTo>
                        <a:pt x="254" y="120"/>
                      </a:lnTo>
                      <a:lnTo>
                        <a:pt x="232" y="97"/>
                      </a:lnTo>
                      <a:lnTo>
                        <a:pt x="209" y="75"/>
                      </a:lnTo>
                      <a:lnTo>
                        <a:pt x="184" y="56"/>
                      </a:lnTo>
                      <a:lnTo>
                        <a:pt x="157" y="39"/>
                      </a:lnTo>
                      <a:lnTo>
                        <a:pt x="128" y="25"/>
                      </a:lnTo>
                      <a:lnTo>
                        <a:pt x="97" y="14"/>
                      </a:lnTo>
                      <a:lnTo>
                        <a:pt x="67" y="7"/>
                      </a:lnTo>
                      <a:lnTo>
                        <a:pt x="34"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57" name="Freeform 11"/>
                <p:cNvSpPr/>
                <p:nvPr/>
              </p:nvSpPr>
              <p:spPr bwMode="auto">
                <a:xfrm>
                  <a:off x="2590800" y="6975476"/>
                  <a:ext cx="53975" cy="103188"/>
                </a:xfrm>
                <a:custGeom>
                  <a:avLst/>
                  <a:gdLst>
                    <a:gd name="T0" fmla="*/ 46 w 68"/>
                    <a:gd name="T1" fmla="*/ 0 h 130"/>
                    <a:gd name="T2" fmla="*/ 0 w 68"/>
                    <a:gd name="T3" fmla="*/ 0 h 130"/>
                    <a:gd name="T4" fmla="*/ 0 w 68"/>
                    <a:gd name="T5" fmla="*/ 0 h 130"/>
                    <a:gd name="T6" fmla="*/ 1 w 68"/>
                    <a:gd name="T7" fmla="*/ 34 h 130"/>
                    <a:gd name="T8" fmla="*/ 7 w 68"/>
                    <a:gd name="T9" fmla="*/ 67 h 130"/>
                    <a:gd name="T10" fmla="*/ 16 w 68"/>
                    <a:gd name="T11" fmla="*/ 99 h 130"/>
                    <a:gd name="T12" fmla="*/ 27 w 68"/>
                    <a:gd name="T13" fmla="*/ 130 h 130"/>
                    <a:gd name="T14" fmla="*/ 68 w 68"/>
                    <a:gd name="T15" fmla="*/ 106 h 130"/>
                    <a:gd name="T16" fmla="*/ 68 w 68"/>
                    <a:gd name="T17" fmla="*/ 106 h 130"/>
                    <a:gd name="T18" fmla="*/ 59 w 68"/>
                    <a:gd name="T19" fmla="*/ 81 h 130"/>
                    <a:gd name="T20" fmla="*/ 52 w 68"/>
                    <a:gd name="T21" fmla="*/ 56 h 130"/>
                    <a:gd name="T22" fmla="*/ 48 w 68"/>
                    <a:gd name="T23" fmla="*/ 27 h 130"/>
                    <a:gd name="T24" fmla="*/ 46 w 68"/>
                    <a:gd name="T25" fmla="*/ 0 h 130"/>
                    <a:gd name="T26" fmla="*/ 46 w 68"/>
                    <a:gd name="T2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30">
                      <a:moveTo>
                        <a:pt x="46" y="0"/>
                      </a:moveTo>
                      <a:lnTo>
                        <a:pt x="0" y="0"/>
                      </a:lnTo>
                      <a:lnTo>
                        <a:pt x="0" y="0"/>
                      </a:lnTo>
                      <a:lnTo>
                        <a:pt x="1" y="34"/>
                      </a:lnTo>
                      <a:lnTo>
                        <a:pt x="7" y="67"/>
                      </a:lnTo>
                      <a:lnTo>
                        <a:pt x="16" y="99"/>
                      </a:lnTo>
                      <a:lnTo>
                        <a:pt x="27" y="130"/>
                      </a:lnTo>
                      <a:lnTo>
                        <a:pt x="68" y="106"/>
                      </a:lnTo>
                      <a:lnTo>
                        <a:pt x="68" y="106"/>
                      </a:lnTo>
                      <a:lnTo>
                        <a:pt x="59" y="81"/>
                      </a:lnTo>
                      <a:lnTo>
                        <a:pt x="52" y="56"/>
                      </a:lnTo>
                      <a:lnTo>
                        <a:pt x="48" y="27"/>
                      </a:lnTo>
                      <a:lnTo>
                        <a:pt x="46" y="0"/>
                      </a:lnTo>
                      <a:lnTo>
                        <a:pt x="4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58" name="Freeform 12"/>
                <p:cNvSpPr/>
                <p:nvPr/>
              </p:nvSpPr>
              <p:spPr bwMode="auto">
                <a:xfrm>
                  <a:off x="2638425" y="7105651"/>
                  <a:ext cx="214313" cy="131763"/>
                </a:xfrm>
                <a:custGeom>
                  <a:avLst/>
                  <a:gdLst>
                    <a:gd name="T0" fmla="*/ 41 w 270"/>
                    <a:gd name="T1" fmla="*/ 0 h 165"/>
                    <a:gd name="T2" fmla="*/ 0 w 270"/>
                    <a:gd name="T3" fmla="*/ 23 h 165"/>
                    <a:gd name="T4" fmla="*/ 0 w 270"/>
                    <a:gd name="T5" fmla="*/ 23 h 165"/>
                    <a:gd name="T6" fmla="*/ 11 w 270"/>
                    <a:gd name="T7" fmla="*/ 38 h 165"/>
                    <a:gd name="T8" fmla="*/ 23 w 270"/>
                    <a:gd name="T9" fmla="*/ 54 h 165"/>
                    <a:gd name="T10" fmla="*/ 38 w 270"/>
                    <a:gd name="T11" fmla="*/ 68 h 165"/>
                    <a:gd name="T12" fmla="*/ 52 w 270"/>
                    <a:gd name="T13" fmla="*/ 81 h 165"/>
                    <a:gd name="T14" fmla="*/ 67 w 270"/>
                    <a:gd name="T15" fmla="*/ 93 h 165"/>
                    <a:gd name="T16" fmla="*/ 81 w 270"/>
                    <a:gd name="T17" fmla="*/ 106 h 165"/>
                    <a:gd name="T18" fmla="*/ 99 w 270"/>
                    <a:gd name="T19" fmla="*/ 117 h 165"/>
                    <a:gd name="T20" fmla="*/ 115 w 270"/>
                    <a:gd name="T21" fmla="*/ 126 h 165"/>
                    <a:gd name="T22" fmla="*/ 133 w 270"/>
                    <a:gd name="T23" fmla="*/ 135 h 165"/>
                    <a:gd name="T24" fmla="*/ 151 w 270"/>
                    <a:gd name="T25" fmla="*/ 142 h 165"/>
                    <a:gd name="T26" fmla="*/ 169 w 270"/>
                    <a:gd name="T27" fmla="*/ 149 h 165"/>
                    <a:gd name="T28" fmla="*/ 189 w 270"/>
                    <a:gd name="T29" fmla="*/ 155 h 165"/>
                    <a:gd name="T30" fmla="*/ 209 w 270"/>
                    <a:gd name="T31" fmla="*/ 158 h 165"/>
                    <a:gd name="T32" fmla="*/ 229 w 270"/>
                    <a:gd name="T33" fmla="*/ 162 h 165"/>
                    <a:gd name="T34" fmla="*/ 250 w 270"/>
                    <a:gd name="T35" fmla="*/ 164 h 165"/>
                    <a:gd name="T36" fmla="*/ 270 w 270"/>
                    <a:gd name="T37" fmla="*/ 165 h 165"/>
                    <a:gd name="T38" fmla="*/ 270 w 270"/>
                    <a:gd name="T39" fmla="*/ 119 h 165"/>
                    <a:gd name="T40" fmla="*/ 270 w 270"/>
                    <a:gd name="T41" fmla="*/ 119 h 165"/>
                    <a:gd name="T42" fmla="*/ 252 w 270"/>
                    <a:gd name="T43" fmla="*/ 117 h 165"/>
                    <a:gd name="T44" fmla="*/ 236 w 270"/>
                    <a:gd name="T45" fmla="*/ 115 h 165"/>
                    <a:gd name="T46" fmla="*/ 202 w 270"/>
                    <a:gd name="T47" fmla="*/ 110 h 165"/>
                    <a:gd name="T48" fmla="*/ 169 w 270"/>
                    <a:gd name="T49" fmla="*/ 99 h 165"/>
                    <a:gd name="T50" fmla="*/ 140 w 270"/>
                    <a:gd name="T51" fmla="*/ 86 h 165"/>
                    <a:gd name="T52" fmla="*/ 112 w 270"/>
                    <a:gd name="T53" fmla="*/ 68 h 165"/>
                    <a:gd name="T54" fmla="*/ 86 w 270"/>
                    <a:gd name="T55" fmla="*/ 48 h 165"/>
                    <a:gd name="T56" fmla="*/ 63 w 270"/>
                    <a:gd name="T57" fmla="*/ 25 h 165"/>
                    <a:gd name="T58" fmla="*/ 41 w 270"/>
                    <a:gd name="T59" fmla="*/ 0 h 165"/>
                    <a:gd name="T60" fmla="*/ 41 w 270"/>
                    <a:gd name="T6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0" h="165">
                      <a:moveTo>
                        <a:pt x="41" y="0"/>
                      </a:moveTo>
                      <a:lnTo>
                        <a:pt x="0" y="23"/>
                      </a:lnTo>
                      <a:lnTo>
                        <a:pt x="0" y="23"/>
                      </a:lnTo>
                      <a:lnTo>
                        <a:pt x="11" y="38"/>
                      </a:lnTo>
                      <a:lnTo>
                        <a:pt x="23" y="54"/>
                      </a:lnTo>
                      <a:lnTo>
                        <a:pt x="38" y="68"/>
                      </a:lnTo>
                      <a:lnTo>
                        <a:pt x="52" y="81"/>
                      </a:lnTo>
                      <a:lnTo>
                        <a:pt x="67" y="93"/>
                      </a:lnTo>
                      <a:lnTo>
                        <a:pt x="81" y="106"/>
                      </a:lnTo>
                      <a:lnTo>
                        <a:pt x="99" y="117"/>
                      </a:lnTo>
                      <a:lnTo>
                        <a:pt x="115" y="126"/>
                      </a:lnTo>
                      <a:lnTo>
                        <a:pt x="133" y="135"/>
                      </a:lnTo>
                      <a:lnTo>
                        <a:pt x="151" y="142"/>
                      </a:lnTo>
                      <a:lnTo>
                        <a:pt x="169" y="149"/>
                      </a:lnTo>
                      <a:lnTo>
                        <a:pt x="189" y="155"/>
                      </a:lnTo>
                      <a:lnTo>
                        <a:pt x="209" y="158"/>
                      </a:lnTo>
                      <a:lnTo>
                        <a:pt x="229" y="162"/>
                      </a:lnTo>
                      <a:lnTo>
                        <a:pt x="250" y="164"/>
                      </a:lnTo>
                      <a:lnTo>
                        <a:pt x="270" y="165"/>
                      </a:lnTo>
                      <a:lnTo>
                        <a:pt x="270" y="119"/>
                      </a:lnTo>
                      <a:lnTo>
                        <a:pt x="270" y="119"/>
                      </a:lnTo>
                      <a:lnTo>
                        <a:pt x="252" y="117"/>
                      </a:lnTo>
                      <a:lnTo>
                        <a:pt x="236" y="115"/>
                      </a:lnTo>
                      <a:lnTo>
                        <a:pt x="202" y="110"/>
                      </a:lnTo>
                      <a:lnTo>
                        <a:pt x="169" y="99"/>
                      </a:lnTo>
                      <a:lnTo>
                        <a:pt x="140" y="86"/>
                      </a:lnTo>
                      <a:lnTo>
                        <a:pt x="112" y="68"/>
                      </a:lnTo>
                      <a:lnTo>
                        <a:pt x="86" y="48"/>
                      </a:lnTo>
                      <a:lnTo>
                        <a:pt x="63" y="25"/>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grpSp>
          <p:nvGrpSpPr>
            <p:cNvPr id="59" name="组合 58"/>
            <p:cNvGrpSpPr/>
            <p:nvPr/>
          </p:nvGrpSpPr>
          <p:grpSpPr>
            <a:xfrm>
              <a:off x="8962" y="6586"/>
              <a:ext cx="946" cy="946"/>
              <a:chOff x="3977400" y="1104393"/>
              <a:chExt cx="720000" cy="720000"/>
            </a:xfrm>
          </p:grpSpPr>
          <p:sp>
            <p:nvSpPr>
              <p:cNvPr id="60" name="椭圆 59"/>
              <p:cNvSpPr/>
              <p:nvPr/>
            </p:nvSpPr>
            <p:spPr>
              <a:xfrm>
                <a:off x="3977400" y="1104393"/>
                <a:ext cx="720000" cy="720000"/>
              </a:xfrm>
              <a:prstGeom prst="ellipse">
                <a:avLst/>
              </a:prstGeom>
              <a:solidFill>
                <a:srgbClr val="0041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61" name="组合 60"/>
              <p:cNvGrpSpPr/>
              <p:nvPr/>
            </p:nvGrpSpPr>
            <p:grpSpPr>
              <a:xfrm>
                <a:off x="4088450" y="1223437"/>
                <a:ext cx="452181" cy="451432"/>
                <a:chOff x="2887663" y="5335588"/>
                <a:chExt cx="957262" cy="955676"/>
              </a:xfrm>
              <a:solidFill>
                <a:schemeClr val="bg1"/>
              </a:solidFill>
            </p:grpSpPr>
            <p:sp>
              <p:nvSpPr>
                <p:cNvPr id="62" name="Freeform 5"/>
                <p:cNvSpPr>
                  <a:spLocks noEditPoints="1"/>
                </p:cNvSpPr>
                <p:nvPr/>
              </p:nvSpPr>
              <p:spPr bwMode="auto">
                <a:xfrm>
                  <a:off x="2887663" y="5335588"/>
                  <a:ext cx="723900" cy="722313"/>
                </a:xfrm>
                <a:custGeom>
                  <a:avLst/>
                  <a:gdLst>
                    <a:gd name="T0" fmla="*/ 761 w 911"/>
                    <a:gd name="T1" fmla="*/ 119 h 911"/>
                    <a:gd name="T2" fmla="*/ 705 w 911"/>
                    <a:gd name="T3" fmla="*/ 76 h 911"/>
                    <a:gd name="T4" fmla="*/ 648 w 911"/>
                    <a:gd name="T5" fmla="*/ 43 h 911"/>
                    <a:gd name="T6" fmla="*/ 585 w 911"/>
                    <a:gd name="T7" fmla="*/ 20 h 911"/>
                    <a:gd name="T8" fmla="*/ 455 w 911"/>
                    <a:gd name="T9" fmla="*/ 0 h 911"/>
                    <a:gd name="T10" fmla="*/ 326 w 911"/>
                    <a:gd name="T11" fmla="*/ 20 h 911"/>
                    <a:gd name="T12" fmla="*/ 265 w 911"/>
                    <a:gd name="T13" fmla="*/ 43 h 911"/>
                    <a:gd name="T14" fmla="*/ 205 w 911"/>
                    <a:gd name="T15" fmla="*/ 76 h 911"/>
                    <a:gd name="T16" fmla="*/ 151 w 911"/>
                    <a:gd name="T17" fmla="*/ 119 h 911"/>
                    <a:gd name="T18" fmla="*/ 117 w 911"/>
                    <a:gd name="T19" fmla="*/ 151 h 911"/>
                    <a:gd name="T20" fmla="*/ 76 w 911"/>
                    <a:gd name="T21" fmla="*/ 205 h 911"/>
                    <a:gd name="T22" fmla="*/ 43 w 911"/>
                    <a:gd name="T23" fmla="*/ 265 h 911"/>
                    <a:gd name="T24" fmla="*/ 20 w 911"/>
                    <a:gd name="T25" fmla="*/ 326 h 911"/>
                    <a:gd name="T26" fmla="*/ 0 w 911"/>
                    <a:gd name="T27" fmla="*/ 455 h 911"/>
                    <a:gd name="T28" fmla="*/ 20 w 911"/>
                    <a:gd name="T29" fmla="*/ 587 h 911"/>
                    <a:gd name="T30" fmla="*/ 43 w 911"/>
                    <a:gd name="T31" fmla="*/ 648 h 911"/>
                    <a:gd name="T32" fmla="*/ 76 w 911"/>
                    <a:gd name="T33" fmla="*/ 707 h 911"/>
                    <a:gd name="T34" fmla="*/ 117 w 911"/>
                    <a:gd name="T35" fmla="*/ 761 h 911"/>
                    <a:gd name="T36" fmla="*/ 151 w 911"/>
                    <a:gd name="T37" fmla="*/ 794 h 911"/>
                    <a:gd name="T38" fmla="*/ 205 w 911"/>
                    <a:gd name="T39" fmla="*/ 837 h 911"/>
                    <a:gd name="T40" fmla="*/ 265 w 911"/>
                    <a:gd name="T41" fmla="*/ 869 h 911"/>
                    <a:gd name="T42" fmla="*/ 326 w 911"/>
                    <a:gd name="T43" fmla="*/ 893 h 911"/>
                    <a:gd name="T44" fmla="*/ 455 w 911"/>
                    <a:gd name="T45" fmla="*/ 911 h 911"/>
                    <a:gd name="T46" fmla="*/ 585 w 911"/>
                    <a:gd name="T47" fmla="*/ 893 h 911"/>
                    <a:gd name="T48" fmla="*/ 648 w 911"/>
                    <a:gd name="T49" fmla="*/ 869 h 911"/>
                    <a:gd name="T50" fmla="*/ 705 w 911"/>
                    <a:gd name="T51" fmla="*/ 837 h 911"/>
                    <a:gd name="T52" fmla="*/ 761 w 911"/>
                    <a:gd name="T53" fmla="*/ 794 h 911"/>
                    <a:gd name="T54" fmla="*/ 794 w 911"/>
                    <a:gd name="T55" fmla="*/ 761 h 911"/>
                    <a:gd name="T56" fmla="*/ 835 w 911"/>
                    <a:gd name="T57" fmla="*/ 707 h 911"/>
                    <a:gd name="T58" fmla="*/ 869 w 911"/>
                    <a:gd name="T59" fmla="*/ 648 h 911"/>
                    <a:gd name="T60" fmla="*/ 893 w 911"/>
                    <a:gd name="T61" fmla="*/ 587 h 911"/>
                    <a:gd name="T62" fmla="*/ 911 w 911"/>
                    <a:gd name="T63" fmla="*/ 455 h 911"/>
                    <a:gd name="T64" fmla="*/ 893 w 911"/>
                    <a:gd name="T65" fmla="*/ 326 h 911"/>
                    <a:gd name="T66" fmla="*/ 869 w 911"/>
                    <a:gd name="T67" fmla="*/ 265 h 911"/>
                    <a:gd name="T68" fmla="*/ 835 w 911"/>
                    <a:gd name="T69" fmla="*/ 205 h 911"/>
                    <a:gd name="T70" fmla="*/ 794 w 911"/>
                    <a:gd name="T71" fmla="*/ 151 h 911"/>
                    <a:gd name="T72" fmla="*/ 220 w 911"/>
                    <a:gd name="T73" fmla="*/ 693 h 911"/>
                    <a:gd name="T74" fmla="*/ 176 w 911"/>
                    <a:gd name="T75" fmla="*/ 639 h 911"/>
                    <a:gd name="T76" fmla="*/ 135 w 911"/>
                    <a:gd name="T77" fmla="*/ 551 h 911"/>
                    <a:gd name="T78" fmla="*/ 122 w 911"/>
                    <a:gd name="T79" fmla="*/ 455 h 911"/>
                    <a:gd name="T80" fmla="*/ 135 w 911"/>
                    <a:gd name="T81" fmla="*/ 362 h 911"/>
                    <a:gd name="T82" fmla="*/ 176 w 911"/>
                    <a:gd name="T83" fmla="*/ 272 h 911"/>
                    <a:gd name="T84" fmla="*/ 220 w 911"/>
                    <a:gd name="T85" fmla="*/ 220 h 911"/>
                    <a:gd name="T86" fmla="*/ 301 w 911"/>
                    <a:gd name="T87" fmla="*/ 160 h 911"/>
                    <a:gd name="T88" fmla="*/ 392 w 911"/>
                    <a:gd name="T89" fmla="*/ 130 h 911"/>
                    <a:gd name="T90" fmla="*/ 488 w 911"/>
                    <a:gd name="T91" fmla="*/ 124 h 911"/>
                    <a:gd name="T92" fmla="*/ 581 w 911"/>
                    <a:gd name="T93" fmla="*/ 148 h 911"/>
                    <a:gd name="T94" fmla="*/ 666 w 911"/>
                    <a:gd name="T95" fmla="*/ 198 h 911"/>
                    <a:gd name="T96" fmla="*/ 714 w 911"/>
                    <a:gd name="T97" fmla="*/ 245 h 911"/>
                    <a:gd name="T98" fmla="*/ 765 w 911"/>
                    <a:gd name="T99" fmla="*/ 331 h 911"/>
                    <a:gd name="T100" fmla="*/ 788 w 911"/>
                    <a:gd name="T101" fmla="*/ 425 h 911"/>
                    <a:gd name="T102" fmla="*/ 783 w 911"/>
                    <a:gd name="T103" fmla="*/ 520 h 911"/>
                    <a:gd name="T104" fmla="*/ 750 w 911"/>
                    <a:gd name="T105" fmla="*/ 612 h 911"/>
                    <a:gd name="T106" fmla="*/ 691 w 911"/>
                    <a:gd name="T107" fmla="*/ 693 h 911"/>
                    <a:gd name="T108" fmla="*/ 639 w 911"/>
                    <a:gd name="T109" fmla="*/ 734 h 911"/>
                    <a:gd name="T110" fmla="*/ 551 w 911"/>
                    <a:gd name="T111" fmla="*/ 776 h 911"/>
                    <a:gd name="T112" fmla="*/ 455 w 911"/>
                    <a:gd name="T113" fmla="*/ 790 h 911"/>
                    <a:gd name="T114" fmla="*/ 360 w 911"/>
                    <a:gd name="T115" fmla="*/ 776 h 911"/>
                    <a:gd name="T116" fmla="*/ 272 w 911"/>
                    <a:gd name="T117" fmla="*/ 734 h 911"/>
                    <a:gd name="T118" fmla="*/ 220 w 911"/>
                    <a:gd name="T119" fmla="*/ 693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1" h="911">
                      <a:moveTo>
                        <a:pt x="777" y="133"/>
                      </a:moveTo>
                      <a:lnTo>
                        <a:pt x="777" y="133"/>
                      </a:lnTo>
                      <a:lnTo>
                        <a:pt x="761" y="119"/>
                      </a:lnTo>
                      <a:lnTo>
                        <a:pt x="743" y="103"/>
                      </a:lnTo>
                      <a:lnTo>
                        <a:pt x="725" y="88"/>
                      </a:lnTo>
                      <a:lnTo>
                        <a:pt x="705" y="76"/>
                      </a:lnTo>
                      <a:lnTo>
                        <a:pt x="687" y="63"/>
                      </a:lnTo>
                      <a:lnTo>
                        <a:pt x="668" y="52"/>
                      </a:lnTo>
                      <a:lnTo>
                        <a:pt x="648" y="43"/>
                      </a:lnTo>
                      <a:lnTo>
                        <a:pt x="626" y="34"/>
                      </a:lnTo>
                      <a:lnTo>
                        <a:pt x="607" y="27"/>
                      </a:lnTo>
                      <a:lnTo>
                        <a:pt x="585" y="20"/>
                      </a:lnTo>
                      <a:lnTo>
                        <a:pt x="544" y="9"/>
                      </a:lnTo>
                      <a:lnTo>
                        <a:pt x="499" y="4"/>
                      </a:lnTo>
                      <a:lnTo>
                        <a:pt x="455" y="0"/>
                      </a:lnTo>
                      <a:lnTo>
                        <a:pt x="412" y="4"/>
                      </a:lnTo>
                      <a:lnTo>
                        <a:pt x="369" y="9"/>
                      </a:lnTo>
                      <a:lnTo>
                        <a:pt x="326" y="20"/>
                      </a:lnTo>
                      <a:lnTo>
                        <a:pt x="304" y="27"/>
                      </a:lnTo>
                      <a:lnTo>
                        <a:pt x="284" y="34"/>
                      </a:lnTo>
                      <a:lnTo>
                        <a:pt x="265" y="43"/>
                      </a:lnTo>
                      <a:lnTo>
                        <a:pt x="243" y="52"/>
                      </a:lnTo>
                      <a:lnTo>
                        <a:pt x="225" y="63"/>
                      </a:lnTo>
                      <a:lnTo>
                        <a:pt x="205" y="76"/>
                      </a:lnTo>
                      <a:lnTo>
                        <a:pt x="187" y="88"/>
                      </a:lnTo>
                      <a:lnTo>
                        <a:pt x="167" y="103"/>
                      </a:lnTo>
                      <a:lnTo>
                        <a:pt x="151" y="119"/>
                      </a:lnTo>
                      <a:lnTo>
                        <a:pt x="133" y="133"/>
                      </a:lnTo>
                      <a:lnTo>
                        <a:pt x="133" y="133"/>
                      </a:lnTo>
                      <a:lnTo>
                        <a:pt x="117" y="151"/>
                      </a:lnTo>
                      <a:lnTo>
                        <a:pt x="103" y="169"/>
                      </a:lnTo>
                      <a:lnTo>
                        <a:pt x="88" y="187"/>
                      </a:lnTo>
                      <a:lnTo>
                        <a:pt x="76" y="205"/>
                      </a:lnTo>
                      <a:lnTo>
                        <a:pt x="63" y="225"/>
                      </a:lnTo>
                      <a:lnTo>
                        <a:pt x="52" y="245"/>
                      </a:lnTo>
                      <a:lnTo>
                        <a:pt x="43" y="265"/>
                      </a:lnTo>
                      <a:lnTo>
                        <a:pt x="34" y="284"/>
                      </a:lnTo>
                      <a:lnTo>
                        <a:pt x="25" y="306"/>
                      </a:lnTo>
                      <a:lnTo>
                        <a:pt x="20" y="326"/>
                      </a:lnTo>
                      <a:lnTo>
                        <a:pt x="9" y="369"/>
                      </a:lnTo>
                      <a:lnTo>
                        <a:pt x="2" y="412"/>
                      </a:lnTo>
                      <a:lnTo>
                        <a:pt x="0" y="455"/>
                      </a:lnTo>
                      <a:lnTo>
                        <a:pt x="2" y="500"/>
                      </a:lnTo>
                      <a:lnTo>
                        <a:pt x="9" y="544"/>
                      </a:lnTo>
                      <a:lnTo>
                        <a:pt x="20" y="587"/>
                      </a:lnTo>
                      <a:lnTo>
                        <a:pt x="25" y="607"/>
                      </a:lnTo>
                      <a:lnTo>
                        <a:pt x="34" y="628"/>
                      </a:lnTo>
                      <a:lnTo>
                        <a:pt x="43" y="648"/>
                      </a:lnTo>
                      <a:lnTo>
                        <a:pt x="52" y="668"/>
                      </a:lnTo>
                      <a:lnTo>
                        <a:pt x="63" y="687"/>
                      </a:lnTo>
                      <a:lnTo>
                        <a:pt x="76" y="707"/>
                      </a:lnTo>
                      <a:lnTo>
                        <a:pt x="88" y="725"/>
                      </a:lnTo>
                      <a:lnTo>
                        <a:pt x="103" y="743"/>
                      </a:lnTo>
                      <a:lnTo>
                        <a:pt x="117" y="761"/>
                      </a:lnTo>
                      <a:lnTo>
                        <a:pt x="133" y="777"/>
                      </a:lnTo>
                      <a:lnTo>
                        <a:pt x="133" y="777"/>
                      </a:lnTo>
                      <a:lnTo>
                        <a:pt x="151" y="794"/>
                      </a:lnTo>
                      <a:lnTo>
                        <a:pt x="167" y="810"/>
                      </a:lnTo>
                      <a:lnTo>
                        <a:pt x="187" y="824"/>
                      </a:lnTo>
                      <a:lnTo>
                        <a:pt x="205" y="837"/>
                      </a:lnTo>
                      <a:lnTo>
                        <a:pt x="225" y="848"/>
                      </a:lnTo>
                      <a:lnTo>
                        <a:pt x="243" y="858"/>
                      </a:lnTo>
                      <a:lnTo>
                        <a:pt x="265" y="869"/>
                      </a:lnTo>
                      <a:lnTo>
                        <a:pt x="284" y="878"/>
                      </a:lnTo>
                      <a:lnTo>
                        <a:pt x="304" y="885"/>
                      </a:lnTo>
                      <a:lnTo>
                        <a:pt x="326" y="893"/>
                      </a:lnTo>
                      <a:lnTo>
                        <a:pt x="369" y="903"/>
                      </a:lnTo>
                      <a:lnTo>
                        <a:pt x="412" y="909"/>
                      </a:lnTo>
                      <a:lnTo>
                        <a:pt x="455" y="911"/>
                      </a:lnTo>
                      <a:lnTo>
                        <a:pt x="499" y="909"/>
                      </a:lnTo>
                      <a:lnTo>
                        <a:pt x="544" y="903"/>
                      </a:lnTo>
                      <a:lnTo>
                        <a:pt x="585" y="893"/>
                      </a:lnTo>
                      <a:lnTo>
                        <a:pt x="607" y="885"/>
                      </a:lnTo>
                      <a:lnTo>
                        <a:pt x="626" y="878"/>
                      </a:lnTo>
                      <a:lnTo>
                        <a:pt x="648" y="869"/>
                      </a:lnTo>
                      <a:lnTo>
                        <a:pt x="668" y="858"/>
                      </a:lnTo>
                      <a:lnTo>
                        <a:pt x="687" y="848"/>
                      </a:lnTo>
                      <a:lnTo>
                        <a:pt x="705" y="837"/>
                      </a:lnTo>
                      <a:lnTo>
                        <a:pt x="725" y="824"/>
                      </a:lnTo>
                      <a:lnTo>
                        <a:pt x="743" y="810"/>
                      </a:lnTo>
                      <a:lnTo>
                        <a:pt x="761" y="794"/>
                      </a:lnTo>
                      <a:lnTo>
                        <a:pt x="777" y="777"/>
                      </a:lnTo>
                      <a:lnTo>
                        <a:pt x="777" y="777"/>
                      </a:lnTo>
                      <a:lnTo>
                        <a:pt x="794" y="761"/>
                      </a:lnTo>
                      <a:lnTo>
                        <a:pt x="808" y="743"/>
                      </a:lnTo>
                      <a:lnTo>
                        <a:pt x="822" y="725"/>
                      </a:lnTo>
                      <a:lnTo>
                        <a:pt x="835" y="707"/>
                      </a:lnTo>
                      <a:lnTo>
                        <a:pt x="848" y="687"/>
                      </a:lnTo>
                      <a:lnTo>
                        <a:pt x="858" y="668"/>
                      </a:lnTo>
                      <a:lnTo>
                        <a:pt x="869" y="648"/>
                      </a:lnTo>
                      <a:lnTo>
                        <a:pt x="878" y="628"/>
                      </a:lnTo>
                      <a:lnTo>
                        <a:pt x="885" y="607"/>
                      </a:lnTo>
                      <a:lnTo>
                        <a:pt x="893" y="587"/>
                      </a:lnTo>
                      <a:lnTo>
                        <a:pt x="902" y="544"/>
                      </a:lnTo>
                      <a:lnTo>
                        <a:pt x="909" y="500"/>
                      </a:lnTo>
                      <a:lnTo>
                        <a:pt x="911" y="455"/>
                      </a:lnTo>
                      <a:lnTo>
                        <a:pt x="909" y="412"/>
                      </a:lnTo>
                      <a:lnTo>
                        <a:pt x="902" y="369"/>
                      </a:lnTo>
                      <a:lnTo>
                        <a:pt x="893" y="326"/>
                      </a:lnTo>
                      <a:lnTo>
                        <a:pt x="885" y="306"/>
                      </a:lnTo>
                      <a:lnTo>
                        <a:pt x="878" y="284"/>
                      </a:lnTo>
                      <a:lnTo>
                        <a:pt x="869" y="265"/>
                      </a:lnTo>
                      <a:lnTo>
                        <a:pt x="858" y="245"/>
                      </a:lnTo>
                      <a:lnTo>
                        <a:pt x="848" y="225"/>
                      </a:lnTo>
                      <a:lnTo>
                        <a:pt x="835" y="205"/>
                      </a:lnTo>
                      <a:lnTo>
                        <a:pt x="822" y="187"/>
                      </a:lnTo>
                      <a:lnTo>
                        <a:pt x="808" y="169"/>
                      </a:lnTo>
                      <a:lnTo>
                        <a:pt x="794" y="151"/>
                      </a:lnTo>
                      <a:lnTo>
                        <a:pt x="777" y="133"/>
                      </a:lnTo>
                      <a:lnTo>
                        <a:pt x="777" y="133"/>
                      </a:lnTo>
                      <a:close/>
                      <a:moveTo>
                        <a:pt x="220" y="693"/>
                      </a:moveTo>
                      <a:lnTo>
                        <a:pt x="220" y="693"/>
                      </a:lnTo>
                      <a:lnTo>
                        <a:pt x="196" y="666"/>
                      </a:lnTo>
                      <a:lnTo>
                        <a:pt x="176" y="639"/>
                      </a:lnTo>
                      <a:lnTo>
                        <a:pt x="160" y="612"/>
                      </a:lnTo>
                      <a:lnTo>
                        <a:pt x="146" y="581"/>
                      </a:lnTo>
                      <a:lnTo>
                        <a:pt x="135" y="551"/>
                      </a:lnTo>
                      <a:lnTo>
                        <a:pt x="128" y="520"/>
                      </a:lnTo>
                      <a:lnTo>
                        <a:pt x="124" y="488"/>
                      </a:lnTo>
                      <a:lnTo>
                        <a:pt x="122" y="455"/>
                      </a:lnTo>
                      <a:lnTo>
                        <a:pt x="124" y="425"/>
                      </a:lnTo>
                      <a:lnTo>
                        <a:pt x="128" y="392"/>
                      </a:lnTo>
                      <a:lnTo>
                        <a:pt x="135" y="362"/>
                      </a:lnTo>
                      <a:lnTo>
                        <a:pt x="146" y="331"/>
                      </a:lnTo>
                      <a:lnTo>
                        <a:pt x="160" y="301"/>
                      </a:lnTo>
                      <a:lnTo>
                        <a:pt x="176" y="272"/>
                      </a:lnTo>
                      <a:lnTo>
                        <a:pt x="196" y="245"/>
                      </a:lnTo>
                      <a:lnTo>
                        <a:pt x="220" y="220"/>
                      </a:lnTo>
                      <a:lnTo>
                        <a:pt x="220" y="220"/>
                      </a:lnTo>
                      <a:lnTo>
                        <a:pt x="245" y="198"/>
                      </a:lnTo>
                      <a:lnTo>
                        <a:pt x="272" y="178"/>
                      </a:lnTo>
                      <a:lnTo>
                        <a:pt x="301" y="160"/>
                      </a:lnTo>
                      <a:lnTo>
                        <a:pt x="329" y="148"/>
                      </a:lnTo>
                      <a:lnTo>
                        <a:pt x="360" y="137"/>
                      </a:lnTo>
                      <a:lnTo>
                        <a:pt x="392" y="130"/>
                      </a:lnTo>
                      <a:lnTo>
                        <a:pt x="423" y="124"/>
                      </a:lnTo>
                      <a:lnTo>
                        <a:pt x="455" y="122"/>
                      </a:lnTo>
                      <a:lnTo>
                        <a:pt x="488" y="124"/>
                      </a:lnTo>
                      <a:lnTo>
                        <a:pt x="520" y="130"/>
                      </a:lnTo>
                      <a:lnTo>
                        <a:pt x="551" y="137"/>
                      </a:lnTo>
                      <a:lnTo>
                        <a:pt x="581" y="148"/>
                      </a:lnTo>
                      <a:lnTo>
                        <a:pt x="610" y="160"/>
                      </a:lnTo>
                      <a:lnTo>
                        <a:pt x="639" y="178"/>
                      </a:lnTo>
                      <a:lnTo>
                        <a:pt x="666" y="198"/>
                      </a:lnTo>
                      <a:lnTo>
                        <a:pt x="691" y="220"/>
                      </a:lnTo>
                      <a:lnTo>
                        <a:pt x="691" y="220"/>
                      </a:lnTo>
                      <a:lnTo>
                        <a:pt x="714" y="245"/>
                      </a:lnTo>
                      <a:lnTo>
                        <a:pt x="734" y="272"/>
                      </a:lnTo>
                      <a:lnTo>
                        <a:pt x="750" y="301"/>
                      </a:lnTo>
                      <a:lnTo>
                        <a:pt x="765" y="331"/>
                      </a:lnTo>
                      <a:lnTo>
                        <a:pt x="776" y="362"/>
                      </a:lnTo>
                      <a:lnTo>
                        <a:pt x="783" y="392"/>
                      </a:lnTo>
                      <a:lnTo>
                        <a:pt x="788" y="425"/>
                      </a:lnTo>
                      <a:lnTo>
                        <a:pt x="788" y="455"/>
                      </a:lnTo>
                      <a:lnTo>
                        <a:pt x="788" y="488"/>
                      </a:lnTo>
                      <a:lnTo>
                        <a:pt x="783" y="520"/>
                      </a:lnTo>
                      <a:lnTo>
                        <a:pt x="776" y="551"/>
                      </a:lnTo>
                      <a:lnTo>
                        <a:pt x="765" y="581"/>
                      </a:lnTo>
                      <a:lnTo>
                        <a:pt x="750" y="612"/>
                      </a:lnTo>
                      <a:lnTo>
                        <a:pt x="734" y="639"/>
                      </a:lnTo>
                      <a:lnTo>
                        <a:pt x="714" y="666"/>
                      </a:lnTo>
                      <a:lnTo>
                        <a:pt x="691" y="693"/>
                      </a:lnTo>
                      <a:lnTo>
                        <a:pt x="691" y="693"/>
                      </a:lnTo>
                      <a:lnTo>
                        <a:pt x="666" y="714"/>
                      </a:lnTo>
                      <a:lnTo>
                        <a:pt x="639" y="734"/>
                      </a:lnTo>
                      <a:lnTo>
                        <a:pt x="610" y="752"/>
                      </a:lnTo>
                      <a:lnTo>
                        <a:pt x="581" y="765"/>
                      </a:lnTo>
                      <a:lnTo>
                        <a:pt x="551" y="776"/>
                      </a:lnTo>
                      <a:lnTo>
                        <a:pt x="520" y="783"/>
                      </a:lnTo>
                      <a:lnTo>
                        <a:pt x="488" y="788"/>
                      </a:lnTo>
                      <a:lnTo>
                        <a:pt x="455" y="790"/>
                      </a:lnTo>
                      <a:lnTo>
                        <a:pt x="423" y="788"/>
                      </a:lnTo>
                      <a:lnTo>
                        <a:pt x="392" y="783"/>
                      </a:lnTo>
                      <a:lnTo>
                        <a:pt x="360" y="776"/>
                      </a:lnTo>
                      <a:lnTo>
                        <a:pt x="329" y="765"/>
                      </a:lnTo>
                      <a:lnTo>
                        <a:pt x="301" y="752"/>
                      </a:lnTo>
                      <a:lnTo>
                        <a:pt x="272" y="734"/>
                      </a:lnTo>
                      <a:lnTo>
                        <a:pt x="245" y="714"/>
                      </a:lnTo>
                      <a:lnTo>
                        <a:pt x="220" y="693"/>
                      </a:lnTo>
                      <a:lnTo>
                        <a:pt x="220" y="69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63" name="Freeform 6"/>
                <p:cNvSpPr/>
                <p:nvPr/>
              </p:nvSpPr>
              <p:spPr bwMode="auto">
                <a:xfrm>
                  <a:off x="3479800" y="5927726"/>
                  <a:ext cx="365125" cy="363538"/>
                </a:xfrm>
                <a:custGeom>
                  <a:avLst/>
                  <a:gdLst>
                    <a:gd name="T0" fmla="*/ 427 w 459"/>
                    <a:gd name="T1" fmla="*/ 277 h 459"/>
                    <a:gd name="T2" fmla="*/ 151 w 459"/>
                    <a:gd name="T3" fmla="*/ 0 h 459"/>
                    <a:gd name="T4" fmla="*/ 151 w 459"/>
                    <a:gd name="T5" fmla="*/ 0 h 459"/>
                    <a:gd name="T6" fmla="*/ 135 w 459"/>
                    <a:gd name="T7" fmla="*/ 22 h 459"/>
                    <a:gd name="T8" fmla="*/ 119 w 459"/>
                    <a:gd name="T9" fmla="*/ 43 h 459"/>
                    <a:gd name="T10" fmla="*/ 101 w 459"/>
                    <a:gd name="T11" fmla="*/ 63 h 459"/>
                    <a:gd name="T12" fmla="*/ 83 w 459"/>
                    <a:gd name="T13" fmla="*/ 83 h 459"/>
                    <a:gd name="T14" fmla="*/ 83 w 459"/>
                    <a:gd name="T15" fmla="*/ 83 h 459"/>
                    <a:gd name="T16" fmla="*/ 63 w 459"/>
                    <a:gd name="T17" fmla="*/ 103 h 459"/>
                    <a:gd name="T18" fmla="*/ 43 w 459"/>
                    <a:gd name="T19" fmla="*/ 119 h 459"/>
                    <a:gd name="T20" fmla="*/ 22 w 459"/>
                    <a:gd name="T21" fmla="*/ 135 h 459"/>
                    <a:gd name="T22" fmla="*/ 0 w 459"/>
                    <a:gd name="T23" fmla="*/ 151 h 459"/>
                    <a:gd name="T24" fmla="*/ 277 w 459"/>
                    <a:gd name="T25" fmla="*/ 428 h 459"/>
                    <a:gd name="T26" fmla="*/ 277 w 459"/>
                    <a:gd name="T27" fmla="*/ 428 h 459"/>
                    <a:gd name="T28" fmla="*/ 284 w 459"/>
                    <a:gd name="T29" fmla="*/ 436 h 459"/>
                    <a:gd name="T30" fmla="*/ 293 w 459"/>
                    <a:gd name="T31" fmla="*/ 441 h 459"/>
                    <a:gd name="T32" fmla="*/ 311 w 459"/>
                    <a:gd name="T33" fmla="*/ 452 h 459"/>
                    <a:gd name="T34" fmla="*/ 331 w 459"/>
                    <a:gd name="T35" fmla="*/ 457 h 459"/>
                    <a:gd name="T36" fmla="*/ 353 w 459"/>
                    <a:gd name="T37" fmla="*/ 459 h 459"/>
                    <a:gd name="T38" fmla="*/ 373 w 459"/>
                    <a:gd name="T39" fmla="*/ 457 h 459"/>
                    <a:gd name="T40" fmla="*/ 392 w 459"/>
                    <a:gd name="T41" fmla="*/ 452 h 459"/>
                    <a:gd name="T42" fmla="*/ 410 w 459"/>
                    <a:gd name="T43" fmla="*/ 441 h 459"/>
                    <a:gd name="T44" fmla="*/ 419 w 459"/>
                    <a:gd name="T45" fmla="*/ 436 h 459"/>
                    <a:gd name="T46" fmla="*/ 427 w 459"/>
                    <a:gd name="T47" fmla="*/ 428 h 459"/>
                    <a:gd name="T48" fmla="*/ 427 w 459"/>
                    <a:gd name="T49" fmla="*/ 428 h 459"/>
                    <a:gd name="T50" fmla="*/ 434 w 459"/>
                    <a:gd name="T51" fmla="*/ 419 h 459"/>
                    <a:gd name="T52" fmla="*/ 441 w 459"/>
                    <a:gd name="T53" fmla="*/ 410 h 459"/>
                    <a:gd name="T54" fmla="*/ 450 w 459"/>
                    <a:gd name="T55" fmla="*/ 392 h 459"/>
                    <a:gd name="T56" fmla="*/ 457 w 459"/>
                    <a:gd name="T57" fmla="*/ 373 h 459"/>
                    <a:gd name="T58" fmla="*/ 459 w 459"/>
                    <a:gd name="T59" fmla="*/ 353 h 459"/>
                    <a:gd name="T60" fmla="*/ 457 w 459"/>
                    <a:gd name="T61" fmla="*/ 333 h 459"/>
                    <a:gd name="T62" fmla="*/ 450 w 459"/>
                    <a:gd name="T63" fmla="*/ 313 h 459"/>
                    <a:gd name="T64" fmla="*/ 441 w 459"/>
                    <a:gd name="T65" fmla="*/ 293 h 459"/>
                    <a:gd name="T66" fmla="*/ 434 w 459"/>
                    <a:gd name="T67" fmla="*/ 284 h 459"/>
                    <a:gd name="T68" fmla="*/ 427 w 459"/>
                    <a:gd name="T69" fmla="*/ 277 h 459"/>
                    <a:gd name="T70" fmla="*/ 427 w 459"/>
                    <a:gd name="T71" fmla="*/ 27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9" h="459">
                      <a:moveTo>
                        <a:pt x="427" y="277"/>
                      </a:moveTo>
                      <a:lnTo>
                        <a:pt x="151" y="0"/>
                      </a:lnTo>
                      <a:lnTo>
                        <a:pt x="151" y="0"/>
                      </a:lnTo>
                      <a:lnTo>
                        <a:pt x="135" y="22"/>
                      </a:lnTo>
                      <a:lnTo>
                        <a:pt x="119" y="43"/>
                      </a:lnTo>
                      <a:lnTo>
                        <a:pt x="101" y="63"/>
                      </a:lnTo>
                      <a:lnTo>
                        <a:pt x="83" y="83"/>
                      </a:lnTo>
                      <a:lnTo>
                        <a:pt x="83" y="83"/>
                      </a:lnTo>
                      <a:lnTo>
                        <a:pt x="63" y="103"/>
                      </a:lnTo>
                      <a:lnTo>
                        <a:pt x="43" y="119"/>
                      </a:lnTo>
                      <a:lnTo>
                        <a:pt x="22" y="135"/>
                      </a:lnTo>
                      <a:lnTo>
                        <a:pt x="0" y="151"/>
                      </a:lnTo>
                      <a:lnTo>
                        <a:pt x="277" y="428"/>
                      </a:lnTo>
                      <a:lnTo>
                        <a:pt x="277" y="428"/>
                      </a:lnTo>
                      <a:lnTo>
                        <a:pt x="284" y="436"/>
                      </a:lnTo>
                      <a:lnTo>
                        <a:pt x="293" y="441"/>
                      </a:lnTo>
                      <a:lnTo>
                        <a:pt x="311" y="452"/>
                      </a:lnTo>
                      <a:lnTo>
                        <a:pt x="331" y="457"/>
                      </a:lnTo>
                      <a:lnTo>
                        <a:pt x="353" y="459"/>
                      </a:lnTo>
                      <a:lnTo>
                        <a:pt x="373" y="457"/>
                      </a:lnTo>
                      <a:lnTo>
                        <a:pt x="392" y="452"/>
                      </a:lnTo>
                      <a:lnTo>
                        <a:pt x="410" y="441"/>
                      </a:lnTo>
                      <a:lnTo>
                        <a:pt x="419" y="436"/>
                      </a:lnTo>
                      <a:lnTo>
                        <a:pt x="427" y="428"/>
                      </a:lnTo>
                      <a:lnTo>
                        <a:pt x="427" y="428"/>
                      </a:lnTo>
                      <a:lnTo>
                        <a:pt x="434" y="419"/>
                      </a:lnTo>
                      <a:lnTo>
                        <a:pt x="441" y="410"/>
                      </a:lnTo>
                      <a:lnTo>
                        <a:pt x="450" y="392"/>
                      </a:lnTo>
                      <a:lnTo>
                        <a:pt x="457" y="373"/>
                      </a:lnTo>
                      <a:lnTo>
                        <a:pt x="459" y="353"/>
                      </a:lnTo>
                      <a:lnTo>
                        <a:pt x="457" y="333"/>
                      </a:lnTo>
                      <a:lnTo>
                        <a:pt x="450" y="313"/>
                      </a:lnTo>
                      <a:lnTo>
                        <a:pt x="441" y="293"/>
                      </a:lnTo>
                      <a:lnTo>
                        <a:pt x="434" y="284"/>
                      </a:lnTo>
                      <a:lnTo>
                        <a:pt x="427" y="277"/>
                      </a:lnTo>
                      <a:lnTo>
                        <a:pt x="427" y="2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64" name="Freeform 7"/>
                <p:cNvSpPr/>
                <p:nvPr/>
              </p:nvSpPr>
              <p:spPr bwMode="auto">
                <a:xfrm>
                  <a:off x="3040063" y="5486401"/>
                  <a:ext cx="193675" cy="193675"/>
                </a:xfrm>
                <a:custGeom>
                  <a:avLst/>
                  <a:gdLst>
                    <a:gd name="T0" fmla="*/ 0 w 245"/>
                    <a:gd name="T1" fmla="*/ 243 h 243"/>
                    <a:gd name="T2" fmla="*/ 61 w 245"/>
                    <a:gd name="T3" fmla="*/ 243 h 243"/>
                    <a:gd name="T4" fmla="*/ 61 w 245"/>
                    <a:gd name="T5" fmla="*/ 243 h 243"/>
                    <a:gd name="T6" fmla="*/ 63 w 245"/>
                    <a:gd name="T7" fmla="*/ 227 h 243"/>
                    <a:gd name="T8" fmla="*/ 68 w 245"/>
                    <a:gd name="T9" fmla="*/ 209 h 243"/>
                    <a:gd name="T10" fmla="*/ 72 w 245"/>
                    <a:gd name="T11" fmla="*/ 192 h 243"/>
                    <a:gd name="T12" fmla="*/ 79 w 245"/>
                    <a:gd name="T13" fmla="*/ 178 h 243"/>
                    <a:gd name="T14" fmla="*/ 88 w 245"/>
                    <a:gd name="T15" fmla="*/ 162 h 243"/>
                    <a:gd name="T16" fmla="*/ 97 w 245"/>
                    <a:gd name="T17" fmla="*/ 147 h 243"/>
                    <a:gd name="T18" fmla="*/ 108 w 245"/>
                    <a:gd name="T19" fmla="*/ 133 h 243"/>
                    <a:gd name="T20" fmla="*/ 120 w 245"/>
                    <a:gd name="T21" fmla="*/ 120 h 243"/>
                    <a:gd name="T22" fmla="*/ 120 w 245"/>
                    <a:gd name="T23" fmla="*/ 120 h 243"/>
                    <a:gd name="T24" fmla="*/ 133 w 245"/>
                    <a:gd name="T25" fmla="*/ 108 h 243"/>
                    <a:gd name="T26" fmla="*/ 147 w 245"/>
                    <a:gd name="T27" fmla="*/ 97 h 243"/>
                    <a:gd name="T28" fmla="*/ 162 w 245"/>
                    <a:gd name="T29" fmla="*/ 88 h 243"/>
                    <a:gd name="T30" fmla="*/ 178 w 245"/>
                    <a:gd name="T31" fmla="*/ 79 h 243"/>
                    <a:gd name="T32" fmla="*/ 194 w 245"/>
                    <a:gd name="T33" fmla="*/ 74 h 243"/>
                    <a:gd name="T34" fmla="*/ 210 w 245"/>
                    <a:gd name="T35" fmla="*/ 68 h 243"/>
                    <a:gd name="T36" fmla="*/ 227 w 245"/>
                    <a:gd name="T37" fmla="*/ 63 h 243"/>
                    <a:gd name="T38" fmla="*/ 245 w 245"/>
                    <a:gd name="T39" fmla="*/ 61 h 243"/>
                    <a:gd name="T40" fmla="*/ 245 w 245"/>
                    <a:gd name="T41" fmla="*/ 0 h 243"/>
                    <a:gd name="T42" fmla="*/ 245 w 245"/>
                    <a:gd name="T43" fmla="*/ 0 h 243"/>
                    <a:gd name="T44" fmla="*/ 221 w 245"/>
                    <a:gd name="T45" fmla="*/ 3 h 243"/>
                    <a:gd name="T46" fmla="*/ 198 w 245"/>
                    <a:gd name="T47" fmla="*/ 7 h 243"/>
                    <a:gd name="T48" fmla="*/ 176 w 245"/>
                    <a:gd name="T49" fmla="*/ 14 h 243"/>
                    <a:gd name="T50" fmla="*/ 155 w 245"/>
                    <a:gd name="T51" fmla="*/ 23 h 243"/>
                    <a:gd name="T52" fmla="*/ 133 w 245"/>
                    <a:gd name="T53" fmla="*/ 34 h 243"/>
                    <a:gd name="T54" fmla="*/ 113 w 245"/>
                    <a:gd name="T55" fmla="*/ 47 h 243"/>
                    <a:gd name="T56" fmla="*/ 95 w 245"/>
                    <a:gd name="T57" fmla="*/ 61 h 243"/>
                    <a:gd name="T58" fmla="*/ 77 w 245"/>
                    <a:gd name="T59" fmla="*/ 77 h 243"/>
                    <a:gd name="T60" fmla="*/ 77 w 245"/>
                    <a:gd name="T61" fmla="*/ 77 h 243"/>
                    <a:gd name="T62" fmla="*/ 61 w 245"/>
                    <a:gd name="T63" fmla="*/ 95 h 243"/>
                    <a:gd name="T64" fmla="*/ 47 w 245"/>
                    <a:gd name="T65" fmla="*/ 113 h 243"/>
                    <a:gd name="T66" fmla="*/ 34 w 245"/>
                    <a:gd name="T67" fmla="*/ 133 h 243"/>
                    <a:gd name="T68" fmla="*/ 23 w 245"/>
                    <a:gd name="T69" fmla="*/ 155 h 243"/>
                    <a:gd name="T70" fmla="*/ 14 w 245"/>
                    <a:gd name="T71" fmla="*/ 176 h 243"/>
                    <a:gd name="T72" fmla="*/ 7 w 245"/>
                    <a:gd name="T73" fmla="*/ 198 h 243"/>
                    <a:gd name="T74" fmla="*/ 3 w 245"/>
                    <a:gd name="T75" fmla="*/ 219 h 243"/>
                    <a:gd name="T76" fmla="*/ 0 w 245"/>
                    <a:gd name="T77" fmla="*/ 243 h 243"/>
                    <a:gd name="T78" fmla="*/ 0 w 245"/>
                    <a:gd name="T7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5" h="243">
                      <a:moveTo>
                        <a:pt x="0" y="243"/>
                      </a:moveTo>
                      <a:lnTo>
                        <a:pt x="61" y="243"/>
                      </a:lnTo>
                      <a:lnTo>
                        <a:pt x="61" y="243"/>
                      </a:lnTo>
                      <a:lnTo>
                        <a:pt x="63" y="227"/>
                      </a:lnTo>
                      <a:lnTo>
                        <a:pt x="68" y="209"/>
                      </a:lnTo>
                      <a:lnTo>
                        <a:pt x="72" y="192"/>
                      </a:lnTo>
                      <a:lnTo>
                        <a:pt x="79" y="178"/>
                      </a:lnTo>
                      <a:lnTo>
                        <a:pt x="88" y="162"/>
                      </a:lnTo>
                      <a:lnTo>
                        <a:pt x="97" y="147"/>
                      </a:lnTo>
                      <a:lnTo>
                        <a:pt x="108" y="133"/>
                      </a:lnTo>
                      <a:lnTo>
                        <a:pt x="120" y="120"/>
                      </a:lnTo>
                      <a:lnTo>
                        <a:pt x="120" y="120"/>
                      </a:lnTo>
                      <a:lnTo>
                        <a:pt x="133" y="108"/>
                      </a:lnTo>
                      <a:lnTo>
                        <a:pt x="147" y="97"/>
                      </a:lnTo>
                      <a:lnTo>
                        <a:pt x="162" y="88"/>
                      </a:lnTo>
                      <a:lnTo>
                        <a:pt x="178" y="79"/>
                      </a:lnTo>
                      <a:lnTo>
                        <a:pt x="194" y="74"/>
                      </a:lnTo>
                      <a:lnTo>
                        <a:pt x="210" y="68"/>
                      </a:lnTo>
                      <a:lnTo>
                        <a:pt x="227" y="63"/>
                      </a:lnTo>
                      <a:lnTo>
                        <a:pt x="245" y="61"/>
                      </a:lnTo>
                      <a:lnTo>
                        <a:pt x="245" y="0"/>
                      </a:lnTo>
                      <a:lnTo>
                        <a:pt x="245" y="0"/>
                      </a:lnTo>
                      <a:lnTo>
                        <a:pt x="221" y="3"/>
                      </a:lnTo>
                      <a:lnTo>
                        <a:pt x="198" y="7"/>
                      </a:lnTo>
                      <a:lnTo>
                        <a:pt x="176" y="14"/>
                      </a:lnTo>
                      <a:lnTo>
                        <a:pt x="155" y="23"/>
                      </a:lnTo>
                      <a:lnTo>
                        <a:pt x="133" y="34"/>
                      </a:lnTo>
                      <a:lnTo>
                        <a:pt x="113" y="47"/>
                      </a:lnTo>
                      <a:lnTo>
                        <a:pt x="95" y="61"/>
                      </a:lnTo>
                      <a:lnTo>
                        <a:pt x="77" y="77"/>
                      </a:lnTo>
                      <a:lnTo>
                        <a:pt x="77" y="77"/>
                      </a:lnTo>
                      <a:lnTo>
                        <a:pt x="61" y="95"/>
                      </a:lnTo>
                      <a:lnTo>
                        <a:pt x="47" y="113"/>
                      </a:lnTo>
                      <a:lnTo>
                        <a:pt x="34" y="133"/>
                      </a:lnTo>
                      <a:lnTo>
                        <a:pt x="23" y="155"/>
                      </a:lnTo>
                      <a:lnTo>
                        <a:pt x="14" y="176"/>
                      </a:lnTo>
                      <a:lnTo>
                        <a:pt x="7" y="198"/>
                      </a:lnTo>
                      <a:lnTo>
                        <a:pt x="3" y="219"/>
                      </a:lnTo>
                      <a:lnTo>
                        <a:pt x="0" y="243"/>
                      </a:lnTo>
                      <a:lnTo>
                        <a:pt x="0" y="2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grpSp>
          <p:nvGrpSpPr>
            <p:cNvPr id="65" name="组合 64"/>
            <p:cNvGrpSpPr/>
            <p:nvPr/>
          </p:nvGrpSpPr>
          <p:grpSpPr>
            <a:xfrm>
              <a:off x="4475" y="7285"/>
              <a:ext cx="946" cy="946"/>
              <a:chOff x="2386238" y="1104393"/>
              <a:chExt cx="720000" cy="720000"/>
            </a:xfrm>
          </p:grpSpPr>
          <p:sp>
            <p:nvSpPr>
              <p:cNvPr id="66" name="椭圆 65"/>
              <p:cNvSpPr/>
              <p:nvPr/>
            </p:nvSpPr>
            <p:spPr>
              <a:xfrm>
                <a:off x="2386238" y="1104393"/>
                <a:ext cx="720000" cy="720000"/>
              </a:xfrm>
              <a:prstGeom prst="ellipse">
                <a:avLst/>
              </a:prstGeom>
              <a:solidFill>
                <a:srgbClr val="0041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67" name="Freeform 13"/>
              <p:cNvSpPr>
                <a:spLocks noEditPoints="1"/>
              </p:cNvSpPr>
              <p:nvPr/>
            </p:nvSpPr>
            <p:spPr bwMode="auto">
              <a:xfrm>
                <a:off x="2591501" y="1238296"/>
                <a:ext cx="309475" cy="452194"/>
              </a:xfrm>
              <a:custGeom>
                <a:avLst/>
                <a:gdLst>
                  <a:gd name="T0" fmla="*/ 330 w 825"/>
                  <a:gd name="T1" fmla="*/ 9 h 1204"/>
                  <a:gd name="T2" fmla="*/ 182 w 825"/>
                  <a:gd name="T3" fmla="*/ 72 h 1204"/>
                  <a:gd name="T4" fmla="*/ 72 w 825"/>
                  <a:gd name="T5" fmla="*/ 184 h 1204"/>
                  <a:gd name="T6" fmla="*/ 9 w 825"/>
                  <a:gd name="T7" fmla="*/ 329 h 1204"/>
                  <a:gd name="T8" fmla="*/ 2 w 825"/>
                  <a:gd name="T9" fmla="*/ 436 h 1204"/>
                  <a:gd name="T10" fmla="*/ 17 w 825"/>
                  <a:gd name="T11" fmla="*/ 533 h 1204"/>
                  <a:gd name="T12" fmla="*/ 40 w 825"/>
                  <a:gd name="T13" fmla="*/ 608 h 1204"/>
                  <a:gd name="T14" fmla="*/ 107 w 825"/>
                  <a:gd name="T15" fmla="*/ 819 h 1204"/>
                  <a:gd name="T16" fmla="*/ 114 w 825"/>
                  <a:gd name="T17" fmla="*/ 911 h 1204"/>
                  <a:gd name="T18" fmla="*/ 128 w 825"/>
                  <a:gd name="T19" fmla="*/ 1035 h 1204"/>
                  <a:gd name="T20" fmla="*/ 157 w 825"/>
                  <a:gd name="T21" fmla="*/ 1071 h 1204"/>
                  <a:gd name="T22" fmla="*/ 184 w 825"/>
                  <a:gd name="T23" fmla="*/ 1100 h 1204"/>
                  <a:gd name="T24" fmla="*/ 216 w 825"/>
                  <a:gd name="T25" fmla="*/ 1152 h 1204"/>
                  <a:gd name="T26" fmla="*/ 278 w 825"/>
                  <a:gd name="T27" fmla="*/ 1191 h 1204"/>
                  <a:gd name="T28" fmla="*/ 359 w 825"/>
                  <a:gd name="T29" fmla="*/ 1204 h 1204"/>
                  <a:gd name="T30" fmla="*/ 512 w 825"/>
                  <a:gd name="T31" fmla="*/ 1200 h 1204"/>
                  <a:gd name="T32" fmla="*/ 582 w 825"/>
                  <a:gd name="T33" fmla="*/ 1175 h 1204"/>
                  <a:gd name="T34" fmla="*/ 625 w 825"/>
                  <a:gd name="T35" fmla="*/ 1134 h 1204"/>
                  <a:gd name="T36" fmla="*/ 648 w 825"/>
                  <a:gd name="T37" fmla="*/ 1082 h 1204"/>
                  <a:gd name="T38" fmla="*/ 686 w 825"/>
                  <a:gd name="T39" fmla="*/ 1055 h 1204"/>
                  <a:gd name="T40" fmla="*/ 710 w 825"/>
                  <a:gd name="T41" fmla="*/ 986 h 1204"/>
                  <a:gd name="T42" fmla="*/ 713 w 825"/>
                  <a:gd name="T43" fmla="*/ 878 h 1204"/>
                  <a:gd name="T44" fmla="*/ 735 w 825"/>
                  <a:gd name="T45" fmla="*/ 756 h 1204"/>
                  <a:gd name="T46" fmla="*/ 796 w 825"/>
                  <a:gd name="T47" fmla="*/ 583 h 1204"/>
                  <a:gd name="T48" fmla="*/ 819 w 825"/>
                  <a:gd name="T49" fmla="*/ 484 h 1204"/>
                  <a:gd name="T50" fmla="*/ 825 w 825"/>
                  <a:gd name="T51" fmla="*/ 414 h 1204"/>
                  <a:gd name="T52" fmla="*/ 792 w 825"/>
                  <a:gd name="T53" fmla="*/ 252 h 1204"/>
                  <a:gd name="T54" fmla="*/ 704 w 825"/>
                  <a:gd name="T55" fmla="*/ 122 h 1204"/>
                  <a:gd name="T56" fmla="*/ 573 w 825"/>
                  <a:gd name="T57" fmla="*/ 34 h 1204"/>
                  <a:gd name="T58" fmla="*/ 413 w 825"/>
                  <a:gd name="T59" fmla="*/ 0 h 1204"/>
                  <a:gd name="T60" fmla="*/ 558 w 825"/>
                  <a:gd name="T61" fmla="*/ 1047 h 1204"/>
                  <a:gd name="T62" fmla="*/ 540 w 825"/>
                  <a:gd name="T63" fmla="*/ 1085 h 1204"/>
                  <a:gd name="T64" fmla="*/ 512 w 825"/>
                  <a:gd name="T65" fmla="*/ 1101 h 1204"/>
                  <a:gd name="T66" fmla="*/ 359 w 825"/>
                  <a:gd name="T67" fmla="*/ 1109 h 1204"/>
                  <a:gd name="T68" fmla="*/ 310 w 825"/>
                  <a:gd name="T69" fmla="*/ 1100 h 1204"/>
                  <a:gd name="T70" fmla="*/ 276 w 825"/>
                  <a:gd name="T71" fmla="*/ 1071 h 1204"/>
                  <a:gd name="T72" fmla="*/ 269 w 825"/>
                  <a:gd name="T73" fmla="*/ 1042 h 1204"/>
                  <a:gd name="T74" fmla="*/ 558 w 825"/>
                  <a:gd name="T75" fmla="*/ 1042 h 1204"/>
                  <a:gd name="T76" fmla="*/ 215 w 825"/>
                  <a:gd name="T77" fmla="*/ 993 h 1204"/>
                  <a:gd name="T78" fmla="*/ 618 w 825"/>
                  <a:gd name="T79" fmla="*/ 941 h 1204"/>
                  <a:gd name="T80" fmla="*/ 618 w 825"/>
                  <a:gd name="T81" fmla="*/ 893 h 1204"/>
                  <a:gd name="T82" fmla="*/ 620 w 825"/>
                  <a:gd name="T83" fmla="*/ 840 h 1204"/>
                  <a:gd name="T84" fmla="*/ 697 w 825"/>
                  <a:gd name="T85" fmla="*/ 574 h 1204"/>
                  <a:gd name="T86" fmla="*/ 636 w 825"/>
                  <a:gd name="T87" fmla="*/ 750 h 1204"/>
                  <a:gd name="T88" fmla="*/ 189 w 825"/>
                  <a:gd name="T89" fmla="*/ 750 h 1204"/>
                  <a:gd name="T90" fmla="*/ 130 w 825"/>
                  <a:gd name="T91" fmla="*/ 574 h 1204"/>
                  <a:gd name="T92" fmla="*/ 98 w 825"/>
                  <a:gd name="T93" fmla="*/ 414 h 1204"/>
                  <a:gd name="T94" fmla="*/ 112 w 825"/>
                  <a:gd name="T95" fmla="*/ 319 h 1204"/>
                  <a:gd name="T96" fmla="*/ 170 w 825"/>
                  <a:gd name="T97" fmla="*/ 212 h 1204"/>
                  <a:gd name="T98" fmla="*/ 263 w 825"/>
                  <a:gd name="T99" fmla="*/ 135 h 1204"/>
                  <a:gd name="T100" fmla="*/ 380 w 825"/>
                  <a:gd name="T101" fmla="*/ 99 h 1204"/>
                  <a:gd name="T102" fmla="*/ 477 w 825"/>
                  <a:gd name="T103" fmla="*/ 103 h 1204"/>
                  <a:gd name="T104" fmla="*/ 591 w 825"/>
                  <a:gd name="T105" fmla="*/ 151 h 1204"/>
                  <a:gd name="T106" fmla="*/ 675 w 825"/>
                  <a:gd name="T107" fmla="*/ 236 h 1204"/>
                  <a:gd name="T108" fmla="*/ 722 w 825"/>
                  <a:gd name="T109" fmla="*/ 349 h 1204"/>
                  <a:gd name="T110" fmla="*/ 728 w 825"/>
                  <a:gd name="T111" fmla="*/ 452 h 1204"/>
                  <a:gd name="T112" fmla="*/ 697 w 825"/>
                  <a:gd name="T113" fmla="*/ 574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5" h="1204">
                    <a:moveTo>
                      <a:pt x="413" y="0"/>
                    </a:moveTo>
                    <a:lnTo>
                      <a:pt x="413" y="0"/>
                    </a:lnTo>
                    <a:lnTo>
                      <a:pt x="371" y="4"/>
                    </a:lnTo>
                    <a:lnTo>
                      <a:pt x="330" y="9"/>
                    </a:lnTo>
                    <a:lnTo>
                      <a:pt x="290" y="20"/>
                    </a:lnTo>
                    <a:lnTo>
                      <a:pt x="252" y="34"/>
                    </a:lnTo>
                    <a:lnTo>
                      <a:pt x="216" y="50"/>
                    </a:lnTo>
                    <a:lnTo>
                      <a:pt x="182" y="72"/>
                    </a:lnTo>
                    <a:lnTo>
                      <a:pt x="152" y="95"/>
                    </a:lnTo>
                    <a:lnTo>
                      <a:pt x="123" y="122"/>
                    </a:lnTo>
                    <a:lnTo>
                      <a:pt x="96" y="151"/>
                    </a:lnTo>
                    <a:lnTo>
                      <a:pt x="72" y="184"/>
                    </a:lnTo>
                    <a:lnTo>
                      <a:pt x="51" y="216"/>
                    </a:lnTo>
                    <a:lnTo>
                      <a:pt x="33" y="252"/>
                    </a:lnTo>
                    <a:lnTo>
                      <a:pt x="20" y="290"/>
                    </a:lnTo>
                    <a:lnTo>
                      <a:pt x="9" y="329"/>
                    </a:lnTo>
                    <a:lnTo>
                      <a:pt x="4" y="371"/>
                    </a:lnTo>
                    <a:lnTo>
                      <a:pt x="0" y="414"/>
                    </a:lnTo>
                    <a:lnTo>
                      <a:pt x="0" y="414"/>
                    </a:lnTo>
                    <a:lnTo>
                      <a:pt x="2" y="436"/>
                    </a:lnTo>
                    <a:lnTo>
                      <a:pt x="4" y="461"/>
                    </a:lnTo>
                    <a:lnTo>
                      <a:pt x="6" y="484"/>
                    </a:lnTo>
                    <a:lnTo>
                      <a:pt x="11" y="509"/>
                    </a:lnTo>
                    <a:lnTo>
                      <a:pt x="17" y="533"/>
                    </a:lnTo>
                    <a:lnTo>
                      <a:pt x="24" y="558"/>
                    </a:lnTo>
                    <a:lnTo>
                      <a:pt x="31" y="583"/>
                    </a:lnTo>
                    <a:lnTo>
                      <a:pt x="40" y="608"/>
                    </a:lnTo>
                    <a:lnTo>
                      <a:pt x="40" y="608"/>
                    </a:lnTo>
                    <a:lnTo>
                      <a:pt x="80" y="714"/>
                    </a:lnTo>
                    <a:lnTo>
                      <a:pt x="92" y="756"/>
                    </a:lnTo>
                    <a:lnTo>
                      <a:pt x="101" y="788"/>
                    </a:lnTo>
                    <a:lnTo>
                      <a:pt x="107" y="819"/>
                    </a:lnTo>
                    <a:lnTo>
                      <a:pt x="110" y="848"/>
                    </a:lnTo>
                    <a:lnTo>
                      <a:pt x="112" y="878"/>
                    </a:lnTo>
                    <a:lnTo>
                      <a:pt x="114" y="911"/>
                    </a:lnTo>
                    <a:lnTo>
                      <a:pt x="114" y="911"/>
                    </a:lnTo>
                    <a:lnTo>
                      <a:pt x="114" y="961"/>
                    </a:lnTo>
                    <a:lnTo>
                      <a:pt x="117" y="986"/>
                    </a:lnTo>
                    <a:lnTo>
                      <a:pt x="121" y="1011"/>
                    </a:lnTo>
                    <a:lnTo>
                      <a:pt x="128" y="1035"/>
                    </a:lnTo>
                    <a:lnTo>
                      <a:pt x="134" y="1044"/>
                    </a:lnTo>
                    <a:lnTo>
                      <a:pt x="141" y="1055"/>
                    </a:lnTo>
                    <a:lnTo>
                      <a:pt x="148" y="1064"/>
                    </a:lnTo>
                    <a:lnTo>
                      <a:pt x="157" y="1071"/>
                    </a:lnTo>
                    <a:lnTo>
                      <a:pt x="166" y="1078"/>
                    </a:lnTo>
                    <a:lnTo>
                      <a:pt x="179" y="1082"/>
                    </a:lnTo>
                    <a:lnTo>
                      <a:pt x="179" y="1082"/>
                    </a:lnTo>
                    <a:lnTo>
                      <a:pt x="184" y="1100"/>
                    </a:lnTo>
                    <a:lnTo>
                      <a:pt x="191" y="1118"/>
                    </a:lnTo>
                    <a:lnTo>
                      <a:pt x="202" y="1134"/>
                    </a:lnTo>
                    <a:lnTo>
                      <a:pt x="216" y="1152"/>
                    </a:lnTo>
                    <a:lnTo>
                      <a:pt x="216" y="1152"/>
                    </a:lnTo>
                    <a:lnTo>
                      <a:pt x="231" y="1164"/>
                    </a:lnTo>
                    <a:lnTo>
                      <a:pt x="245" y="1175"/>
                    </a:lnTo>
                    <a:lnTo>
                      <a:pt x="261" y="1184"/>
                    </a:lnTo>
                    <a:lnTo>
                      <a:pt x="278" y="1191"/>
                    </a:lnTo>
                    <a:lnTo>
                      <a:pt x="296" y="1197"/>
                    </a:lnTo>
                    <a:lnTo>
                      <a:pt x="315" y="1200"/>
                    </a:lnTo>
                    <a:lnTo>
                      <a:pt x="337" y="1204"/>
                    </a:lnTo>
                    <a:lnTo>
                      <a:pt x="359" y="1204"/>
                    </a:lnTo>
                    <a:lnTo>
                      <a:pt x="468" y="1204"/>
                    </a:lnTo>
                    <a:lnTo>
                      <a:pt x="468" y="1204"/>
                    </a:lnTo>
                    <a:lnTo>
                      <a:pt x="490" y="1204"/>
                    </a:lnTo>
                    <a:lnTo>
                      <a:pt x="512" y="1200"/>
                    </a:lnTo>
                    <a:lnTo>
                      <a:pt x="530" y="1197"/>
                    </a:lnTo>
                    <a:lnTo>
                      <a:pt x="549" y="1191"/>
                    </a:lnTo>
                    <a:lnTo>
                      <a:pt x="566" y="1184"/>
                    </a:lnTo>
                    <a:lnTo>
                      <a:pt x="582" y="1175"/>
                    </a:lnTo>
                    <a:lnTo>
                      <a:pt x="596" y="1164"/>
                    </a:lnTo>
                    <a:lnTo>
                      <a:pt x="609" y="1152"/>
                    </a:lnTo>
                    <a:lnTo>
                      <a:pt x="609" y="1152"/>
                    </a:lnTo>
                    <a:lnTo>
                      <a:pt x="625" y="1134"/>
                    </a:lnTo>
                    <a:lnTo>
                      <a:pt x="636" y="1118"/>
                    </a:lnTo>
                    <a:lnTo>
                      <a:pt x="643" y="1100"/>
                    </a:lnTo>
                    <a:lnTo>
                      <a:pt x="648" y="1082"/>
                    </a:lnTo>
                    <a:lnTo>
                      <a:pt x="648" y="1082"/>
                    </a:lnTo>
                    <a:lnTo>
                      <a:pt x="661" y="1078"/>
                    </a:lnTo>
                    <a:lnTo>
                      <a:pt x="670" y="1071"/>
                    </a:lnTo>
                    <a:lnTo>
                      <a:pt x="679" y="1064"/>
                    </a:lnTo>
                    <a:lnTo>
                      <a:pt x="686" y="1055"/>
                    </a:lnTo>
                    <a:lnTo>
                      <a:pt x="692" y="1044"/>
                    </a:lnTo>
                    <a:lnTo>
                      <a:pt x="697" y="1035"/>
                    </a:lnTo>
                    <a:lnTo>
                      <a:pt x="706" y="1011"/>
                    </a:lnTo>
                    <a:lnTo>
                      <a:pt x="710" y="986"/>
                    </a:lnTo>
                    <a:lnTo>
                      <a:pt x="713" y="961"/>
                    </a:lnTo>
                    <a:lnTo>
                      <a:pt x="713" y="911"/>
                    </a:lnTo>
                    <a:lnTo>
                      <a:pt x="713" y="911"/>
                    </a:lnTo>
                    <a:lnTo>
                      <a:pt x="713" y="878"/>
                    </a:lnTo>
                    <a:lnTo>
                      <a:pt x="715" y="848"/>
                    </a:lnTo>
                    <a:lnTo>
                      <a:pt x="719" y="819"/>
                    </a:lnTo>
                    <a:lnTo>
                      <a:pt x="726" y="788"/>
                    </a:lnTo>
                    <a:lnTo>
                      <a:pt x="735" y="756"/>
                    </a:lnTo>
                    <a:lnTo>
                      <a:pt x="747" y="714"/>
                    </a:lnTo>
                    <a:lnTo>
                      <a:pt x="787" y="608"/>
                    </a:lnTo>
                    <a:lnTo>
                      <a:pt x="787" y="608"/>
                    </a:lnTo>
                    <a:lnTo>
                      <a:pt x="796" y="583"/>
                    </a:lnTo>
                    <a:lnTo>
                      <a:pt x="803" y="558"/>
                    </a:lnTo>
                    <a:lnTo>
                      <a:pt x="810" y="533"/>
                    </a:lnTo>
                    <a:lnTo>
                      <a:pt x="816" y="509"/>
                    </a:lnTo>
                    <a:lnTo>
                      <a:pt x="819" y="484"/>
                    </a:lnTo>
                    <a:lnTo>
                      <a:pt x="823" y="461"/>
                    </a:lnTo>
                    <a:lnTo>
                      <a:pt x="825" y="436"/>
                    </a:lnTo>
                    <a:lnTo>
                      <a:pt x="825" y="414"/>
                    </a:lnTo>
                    <a:lnTo>
                      <a:pt x="825" y="414"/>
                    </a:lnTo>
                    <a:lnTo>
                      <a:pt x="823" y="371"/>
                    </a:lnTo>
                    <a:lnTo>
                      <a:pt x="818" y="329"/>
                    </a:lnTo>
                    <a:lnTo>
                      <a:pt x="807" y="290"/>
                    </a:lnTo>
                    <a:lnTo>
                      <a:pt x="792" y="252"/>
                    </a:lnTo>
                    <a:lnTo>
                      <a:pt x="776" y="216"/>
                    </a:lnTo>
                    <a:lnTo>
                      <a:pt x="755" y="184"/>
                    </a:lnTo>
                    <a:lnTo>
                      <a:pt x="731" y="151"/>
                    </a:lnTo>
                    <a:lnTo>
                      <a:pt x="704" y="122"/>
                    </a:lnTo>
                    <a:lnTo>
                      <a:pt x="675" y="95"/>
                    </a:lnTo>
                    <a:lnTo>
                      <a:pt x="643" y="72"/>
                    </a:lnTo>
                    <a:lnTo>
                      <a:pt x="609" y="50"/>
                    </a:lnTo>
                    <a:lnTo>
                      <a:pt x="573" y="34"/>
                    </a:lnTo>
                    <a:lnTo>
                      <a:pt x="535" y="20"/>
                    </a:lnTo>
                    <a:lnTo>
                      <a:pt x="495" y="9"/>
                    </a:lnTo>
                    <a:lnTo>
                      <a:pt x="456" y="4"/>
                    </a:lnTo>
                    <a:lnTo>
                      <a:pt x="413" y="0"/>
                    </a:lnTo>
                    <a:lnTo>
                      <a:pt x="413" y="0"/>
                    </a:lnTo>
                    <a:close/>
                    <a:moveTo>
                      <a:pt x="558" y="1042"/>
                    </a:moveTo>
                    <a:lnTo>
                      <a:pt x="558" y="1042"/>
                    </a:lnTo>
                    <a:lnTo>
                      <a:pt x="558" y="1047"/>
                    </a:lnTo>
                    <a:lnTo>
                      <a:pt x="557" y="1056"/>
                    </a:lnTo>
                    <a:lnTo>
                      <a:pt x="551" y="1071"/>
                    </a:lnTo>
                    <a:lnTo>
                      <a:pt x="546" y="1078"/>
                    </a:lnTo>
                    <a:lnTo>
                      <a:pt x="540" y="1085"/>
                    </a:lnTo>
                    <a:lnTo>
                      <a:pt x="540" y="1085"/>
                    </a:lnTo>
                    <a:lnTo>
                      <a:pt x="535" y="1091"/>
                    </a:lnTo>
                    <a:lnTo>
                      <a:pt x="528" y="1096"/>
                    </a:lnTo>
                    <a:lnTo>
                      <a:pt x="512" y="1101"/>
                    </a:lnTo>
                    <a:lnTo>
                      <a:pt x="492" y="1107"/>
                    </a:lnTo>
                    <a:lnTo>
                      <a:pt x="468" y="1109"/>
                    </a:lnTo>
                    <a:lnTo>
                      <a:pt x="359" y="1109"/>
                    </a:lnTo>
                    <a:lnTo>
                      <a:pt x="359" y="1109"/>
                    </a:lnTo>
                    <a:lnTo>
                      <a:pt x="344" y="1107"/>
                    </a:lnTo>
                    <a:lnTo>
                      <a:pt x="332" y="1107"/>
                    </a:lnTo>
                    <a:lnTo>
                      <a:pt x="321" y="1103"/>
                    </a:lnTo>
                    <a:lnTo>
                      <a:pt x="310" y="1100"/>
                    </a:lnTo>
                    <a:lnTo>
                      <a:pt x="301" y="1096"/>
                    </a:lnTo>
                    <a:lnTo>
                      <a:pt x="294" y="1092"/>
                    </a:lnTo>
                    <a:lnTo>
                      <a:pt x="283" y="1082"/>
                    </a:lnTo>
                    <a:lnTo>
                      <a:pt x="276" y="1071"/>
                    </a:lnTo>
                    <a:lnTo>
                      <a:pt x="270" y="1060"/>
                    </a:lnTo>
                    <a:lnTo>
                      <a:pt x="269" y="1051"/>
                    </a:lnTo>
                    <a:lnTo>
                      <a:pt x="269" y="1042"/>
                    </a:lnTo>
                    <a:lnTo>
                      <a:pt x="269" y="1042"/>
                    </a:lnTo>
                    <a:lnTo>
                      <a:pt x="269" y="1040"/>
                    </a:lnTo>
                    <a:lnTo>
                      <a:pt x="558" y="1040"/>
                    </a:lnTo>
                    <a:lnTo>
                      <a:pt x="558" y="1040"/>
                    </a:lnTo>
                    <a:lnTo>
                      <a:pt x="558" y="1042"/>
                    </a:lnTo>
                    <a:lnTo>
                      <a:pt x="558" y="1042"/>
                    </a:lnTo>
                    <a:close/>
                    <a:moveTo>
                      <a:pt x="611" y="993"/>
                    </a:moveTo>
                    <a:lnTo>
                      <a:pt x="215" y="993"/>
                    </a:lnTo>
                    <a:lnTo>
                      <a:pt x="215" y="993"/>
                    </a:lnTo>
                    <a:lnTo>
                      <a:pt x="213" y="975"/>
                    </a:lnTo>
                    <a:lnTo>
                      <a:pt x="209" y="941"/>
                    </a:lnTo>
                    <a:lnTo>
                      <a:pt x="618" y="941"/>
                    </a:lnTo>
                    <a:lnTo>
                      <a:pt x="618" y="941"/>
                    </a:lnTo>
                    <a:lnTo>
                      <a:pt x="614" y="975"/>
                    </a:lnTo>
                    <a:lnTo>
                      <a:pt x="611" y="993"/>
                    </a:lnTo>
                    <a:lnTo>
                      <a:pt x="611" y="993"/>
                    </a:lnTo>
                    <a:close/>
                    <a:moveTo>
                      <a:pt x="618" y="893"/>
                    </a:moveTo>
                    <a:lnTo>
                      <a:pt x="209" y="893"/>
                    </a:lnTo>
                    <a:lnTo>
                      <a:pt x="209" y="893"/>
                    </a:lnTo>
                    <a:lnTo>
                      <a:pt x="207" y="840"/>
                    </a:lnTo>
                    <a:lnTo>
                      <a:pt x="620" y="840"/>
                    </a:lnTo>
                    <a:lnTo>
                      <a:pt x="620" y="840"/>
                    </a:lnTo>
                    <a:lnTo>
                      <a:pt x="618" y="893"/>
                    </a:lnTo>
                    <a:lnTo>
                      <a:pt x="618" y="893"/>
                    </a:lnTo>
                    <a:close/>
                    <a:moveTo>
                      <a:pt x="697" y="574"/>
                    </a:moveTo>
                    <a:lnTo>
                      <a:pt x="697" y="574"/>
                    </a:lnTo>
                    <a:lnTo>
                      <a:pt x="670" y="644"/>
                    </a:lnTo>
                    <a:lnTo>
                      <a:pt x="650" y="702"/>
                    </a:lnTo>
                    <a:lnTo>
                      <a:pt x="636" y="750"/>
                    </a:lnTo>
                    <a:lnTo>
                      <a:pt x="627" y="794"/>
                    </a:lnTo>
                    <a:lnTo>
                      <a:pt x="200" y="794"/>
                    </a:lnTo>
                    <a:lnTo>
                      <a:pt x="200" y="794"/>
                    </a:lnTo>
                    <a:lnTo>
                      <a:pt x="189" y="750"/>
                    </a:lnTo>
                    <a:lnTo>
                      <a:pt x="175" y="702"/>
                    </a:lnTo>
                    <a:lnTo>
                      <a:pt x="155" y="644"/>
                    </a:lnTo>
                    <a:lnTo>
                      <a:pt x="130" y="574"/>
                    </a:lnTo>
                    <a:lnTo>
                      <a:pt x="130" y="574"/>
                    </a:lnTo>
                    <a:lnTo>
                      <a:pt x="116" y="533"/>
                    </a:lnTo>
                    <a:lnTo>
                      <a:pt x="105" y="491"/>
                    </a:lnTo>
                    <a:lnTo>
                      <a:pt x="99" y="452"/>
                    </a:lnTo>
                    <a:lnTo>
                      <a:pt x="98" y="414"/>
                    </a:lnTo>
                    <a:lnTo>
                      <a:pt x="98" y="414"/>
                    </a:lnTo>
                    <a:lnTo>
                      <a:pt x="99" y="382"/>
                    </a:lnTo>
                    <a:lnTo>
                      <a:pt x="103" y="349"/>
                    </a:lnTo>
                    <a:lnTo>
                      <a:pt x="112" y="319"/>
                    </a:lnTo>
                    <a:lnTo>
                      <a:pt x="123" y="290"/>
                    </a:lnTo>
                    <a:lnTo>
                      <a:pt x="135" y="263"/>
                    </a:lnTo>
                    <a:lnTo>
                      <a:pt x="152" y="236"/>
                    </a:lnTo>
                    <a:lnTo>
                      <a:pt x="170" y="212"/>
                    </a:lnTo>
                    <a:lnTo>
                      <a:pt x="189" y="189"/>
                    </a:lnTo>
                    <a:lnTo>
                      <a:pt x="213" y="169"/>
                    </a:lnTo>
                    <a:lnTo>
                      <a:pt x="236" y="151"/>
                    </a:lnTo>
                    <a:lnTo>
                      <a:pt x="263" y="135"/>
                    </a:lnTo>
                    <a:lnTo>
                      <a:pt x="290" y="122"/>
                    </a:lnTo>
                    <a:lnTo>
                      <a:pt x="319" y="112"/>
                    </a:lnTo>
                    <a:lnTo>
                      <a:pt x="350" y="103"/>
                    </a:lnTo>
                    <a:lnTo>
                      <a:pt x="380" y="99"/>
                    </a:lnTo>
                    <a:lnTo>
                      <a:pt x="413" y="97"/>
                    </a:lnTo>
                    <a:lnTo>
                      <a:pt x="413" y="97"/>
                    </a:lnTo>
                    <a:lnTo>
                      <a:pt x="445" y="99"/>
                    </a:lnTo>
                    <a:lnTo>
                      <a:pt x="477" y="103"/>
                    </a:lnTo>
                    <a:lnTo>
                      <a:pt x="508" y="112"/>
                    </a:lnTo>
                    <a:lnTo>
                      <a:pt x="537" y="122"/>
                    </a:lnTo>
                    <a:lnTo>
                      <a:pt x="564" y="135"/>
                    </a:lnTo>
                    <a:lnTo>
                      <a:pt x="591" y="151"/>
                    </a:lnTo>
                    <a:lnTo>
                      <a:pt x="614" y="169"/>
                    </a:lnTo>
                    <a:lnTo>
                      <a:pt x="638" y="189"/>
                    </a:lnTo>
                    <a:lnTo>
                      <a:pt x="657" y="212"/>
                    </a:lnTo>
                    <a:lnTo>
                      <a:pt x="675" y="236"/>
                    </a:lnTo>
                    <a:lnTo>
                      <a:pt x="692" y="263"/>
                    </a:lnTo>
                    <a:lnTo>
                      <a:pt x="704" y="290"/>
                    </a:lnTo>
                    <a:lnTo>
                      <a:pt x="715" y="319"/>
                    </a:lnTo>
                    <a:lnTo>
                      <a:pt x="722" y="349"/>
                    </a:lnTo>
                    <a:lnTo>
                      <a:pt x="728" y="382"/>
                    </a:lnTo>
                    <a:lnTo>
                      <a:pt x="729" y="414"/>
                    </a:lnTo>
                    <a:lnTo>
                      <a:pt x="729" y="414"/>
                    </a:lnTo>
                    <a:lnTo>
                      <a:pt x="728" y="452"/>
                    </a:lnTo>
                    <a:lnTo>
                      <a:pt x="720" y="491"/>
                    </a:lnTo>
                    <a:lnTo>
                      <a:pt x="711" y="533"/>
                    </a:lnTo>
                    <a:lnTo>
                      <a:pt x="697" y="574"/>
                    </a:lnTo>
                    <a:lnTo>
                      <a:pt x="697" y="574"/>
                    </a:lnTo>
                    <a:close/>
                  </a:path>
                </a:pathLst>
              </a:custGeom>
              <a:solidFill>
                <a:schemeClr val="bg1"/>
              </a:solidFill>
              <a:ln>
                <a:noFill/>
              </a:ln>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nvGrpSpPr>
            <p:cNvPr id="68" name="组合 67"/>
            <p:cNvGrpSpPr/>
            <p:nvPr/>
          </p:nvGrpSpPr>
          <p:grpSpPr>
            <a:xfrm>
              <a:off x="11299" y="4478"/>
              <a:ext cx="946" cy="946"/>
              <a:chOff x="4772981" y="1104393"/>
              <a:chExt cx="720000" cy="720000"/>
            </a:xfrm>
          </p:grpSpPr>
          <p:sp>
            <p:nvSpPr>
              <p:cNvPr id="69" name="椭圆 68"/>
              <p:cNvSpPr/>
              <p:nvPr/>
            </p:nvSpPr>
            <p:spPr>
              <a:xfrm>
                <a:off x="4772981" y="1104393"/>
                <a:ext cx="720000" cy="720000"/>
              </a:xfrm>
              <a:prstGeom prst="ellipse">
                <a:avLst/>
              </a:prstGeom>
              <a:solidFill>
                <a:srgbClr val="0067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70" name="组合 69"/>
              <p:cNvGrpSpPr/>
              <p:nvPr/>
            </p:nvGrpSpPr>
            <p:grpSpPr>
              <a:xfrm>
                <a:off x="4921550" y="1252962"/>
                <a:ext cx="422862" cy="422862"/>
                <a:chOff x="5608638" y="6561138"/>
                <a:chExt cx="827088" cy="827088"/>
              </a:xfrm>
              <a:solidFill>
                <a:schemeClr val="bg1"/>
              </a:solidFill>
            </p:grpSpPr>
            <p:sp>
              <p:nvSpPr>
                <p:cNvPr id="71" name="Freeform 14"/>
                <p:cNvSpPr/>
                <p:nvPr/>
              </p:nvSpPr>
              <p:spPr bwMode="auto">
                <a:xfrm>
                  <a:off x="5672138" y="7112001"/>
                  <a:ext cx="212725" cy="214313"/>
                </a:xfrm>
                <a:custGeom>
                  <a:avLst/>
                  <a:gdLst>
                    <a:gd name="T0" fmla="*/ 265 w 268"/>
                    <a:gd name="T1" fmla="*/ 3 h 268"/>
                    <a:gd name="T2" fmla="*/ 265 w 268"/>
                    <a:gd name="T3" fmla="*/ 3 h 268"/>
                    <a:gd name="T4" fmla="*/ 261 w 268"/>
                    <a:gd name="T5" fmla="*/ 2 h 268"/>
                    <a:gd name="T6" fmla="*/ 256 w 268"/>
                    <a:gd name="T7" fmla="*/ 0 h 268"/>
                    <a:gd name="T8" fmla="*/ 250 w 268"/>
                    <a:gd name="T9" fmla="*/ 2 h 268"/>
                    <a:gd name="T10" fmla="*/ 243 w 268"/>
                    <a:gd name="T11" fmla="*/ 3 h 268"/>
                    <a:gd name="T12" fmla="*/ 227 w 268"/>
                    <a:gd name="T13" fmla="*/ 9 h 268"/>
                    <a:gd name="T14" fmla="*/ 205 w 268"/>
                    <a:gd name="T15" fmla="*/ 21 h 268"/>
                    <a:gd name="T16" fmla="*/ 184 w 268"/>
                    <a:gd name="T17" fmla="*/ 38 h 268"/>
                    <a:gd name="T18" fmla="*/ 158 w 268"/>
                    <a:gd name="T19" fmla="*/ 57 h 268"/>
                    <a:gd name="T20" fmla="*/ 131 w 268"/>
                    <a:gd name="T21" fmla="*/ 79 h 268"/>
                    <a:gd name="T22" fmla="*/ 104 w 268"/>
                    <a:gd name="T23" fmla="*/ 106 h 268"/>
                    <a:gd name="T24" fmla="*/ 104 w 268"/>
                    <a:gd name="T25" fmla="*/ 106 h 268"/>
                    <a:gd name="T26" fmla="*/ 79 w 268"/>
                    <a:gd name="T27" fmla="*/ 133 h 268"/>
                    <a:gd name="T28" fmla="*/ 56 w 268"/>
                    <a:gd name="T29" fmla="*/ 158 h 268"/>
                    <a:gd name="T30" fmla="*/ 36 w 268"/>
                    <a:gd name="T31" fmla="*/ 183 h 268"/>
                    <a:gd name="T32" fmla="*/ 20 w 268"/>
                    <a:gd name="T33" fmla="*/ 207 h 268"/>
                    <a:gd name="T34" fmla="*/ 9 w 268"/>
                    <a:gd name="T35" fmla="*/ 227 h 268"/>
                    <a:gd name="T36" fmla="*/ 2 w 268"/>
                    <a:gd name="T37" fmla="*/ 245 h 268"/>
                    <a:gd name="T38" fmla="*/ 0 w 268"/>
                    <a:gd name="T39" fmla="*/ 252 h 268"/>
                    <a:gd name="T40" fmla="*/ 0 w 268"/>
                    <a:gd name="T41" fmla="*/ 257 h 268"/>
                    <a:gd name="T42" fmla="*/ 0 w 268"/>
                    <a:gd name="T43" fmla="*/ 263 h 268"/>
                    <a:gd name="T44" fmla="*/ 4 w 268"/>
                    <a:gd name="T45" fmla="*/ 266 h 268"/>
                    <a:gd name="T46" fmla="*/ 4 w 268"/>
                    <a:gd name="T47" fmla="*/ 266 h 268"/>
                    <a:gd name="T48" fmla="*/ 7 w 268"/>
                    <a:gd name="T49" fmla="*/ 268 h 268"/>
                    <a:gd name="T50" fmla="*/ 11 w 268"/>
                    <a:gd name="T51" fmla="*/ 268 h 268"/>
                    <a:gd name="T52" fmla="*/ 18 w 268"/>
                    <a:gd name="T53" fmla="*/ 268 h 268"/>
                    <a:gd name="T54" fmla="*/ 25 w 268"/>
                    <a:gd name="T55" fmla="*/ 266 h 268"/>
                    <a:gd name="T56" fmla="*/ 41 w 268"/>
                    <a:gd name="T57" fmla="*/ 259 h 268"/>
                    <a:gd name="T58" fmla="*/ 61 w 268"/>
                    <a:gd name="T59" fmla="*/ 248 h 268"/>
                    <a:gd name="T60" fmla="*/ 85 w 268"/>
                    <a:gd name="T61" fmla="*/ 232 h 268"/>
                    <a:gd name="T62" fmla="*/ 110 w 268"/>
                    <a:gd name="T63" fmla="*/ 212 h 268"/>
                    <a:gd name="T64" fmla="*/ 137 w 268"/>
                    <a:gd name="T65" fmla="*/ 191 h 268"/>
                    <a:gd name="T66" fmla="*/ 164 w 268"/>
                    <a:gd name="T67" fmla="*/ 164 h 268"/>
                    <a:gd name="T68" fmla="*/ 164 w 268"/>
                    <a:gd name="T69" fmla="*/ 164 h 268"/>
                    <a:gd name="T70" fmla="*/ 189 w 268"/>
                    <a:gd name="T71" fmla="*/ 137 h 268"/>
                    <a:gd name="T72" fmla="*/ 212 w 268"/>
                    <a:gd name="T73" fmla="*/ 111 h 268"/>
                    <a:gd name="T74" fmla="*/ 232 w 268"/>
                    <a:gd name="T75" fmla="*/ 86 h 268"/>
                    <a:gd name="T76" fmla="*/ 247 w 268"/>
                    <a:gd name="T77" fmla="*/ 63 h 268"/>
                    <a:gd name="T78" fmla="*/ 259 w 268"/>
                    <a:gd name="T79" fmla="*/ 43 h 268"/>
                    <a:gd name="T80" fmla="*/ 266 w 268"/>
                    <a:gd name="T81" fmla="*/ 25 h 268"/>
                    <a:gd name="T82" fmla="*/ 268 w 268"/>
                    <a:gd name="T83" fmla="*/ 18 h 268"/>
                    <a:gd name="T84" fmla="*/ 268 w 268"/>
                    <a:gd name="T85" fmla="*/ 12 h 268"/>
                    <a:gd name="T86" fmla="*/ 266 w 268"/>
                    <a:gd name="T87" fmla="*/ 7 h 268"/>
                    <a:gd name="T88" fmla="*/ 265 w 268"/>
                    <a:gd name="T89" fmla="*/ 3 h 268"/>
                    <a:gd name="T90" fmla="*/ 265 w 268"/>
                    <a:gd name="T91" fmla="*/ 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8" h="268">
                      <a:moveTo>
                        <a:pt x="265" y="3"/>
                      </a:moveTo>
                      <a:lnTo>
                        <a:pt x="265" y="3"/>
                      </a:lnTo>
                      <a:lnTo>
                        <a:pt x="261" y="2"/>
                      </a:lnTo>
                      <a:lnTo>
                        <a:pt x="256" y="0"/>
                      </a:lnTo>
                      <a:lnTo>
                        <a:pt x="250" y="2"/>
                      </a:lnTo>
                      <a:lnTo>
                        <a:pt x="243" y="3"/>
                      </a:lnTo>
                      <a:lnTo>
                        <a:pt x="227" y="9"/>
                      </a:lnTo>
                      <a:lnTo>
                        <a:pt x="205" y="21"/>
                      </a:lnTo>
                      <a:lnTo>
                        <a:pt x="184" y="38"/>
                      </a:lnTo>
                      <a:lnTo>
                        <a:pt x="158" y="57"/>
                      </a:lnTo>
                      <a:lnTo>
                        <a:pt x="131" y="79"/>
                      </a:lnTo>
                      <a:lnTo>
                        <a:pt x="104" y="106"/>
                      </a:lnTo>
                      <a:lnTo>
                        <a:pt x="104" y="106"/>
                      </a:lnTo>
                      <a:lnTo>
                        <a:pt x="79" y="133"/>
                      </a:lnTo>
                      <a:lnTo>
                        <a:pt x="56" y="158"/>
                      </a:lnTo>
                      <a:lnTo>
                        <a:pt x="36" y="183"/>
                      </a:lnTo>
                      <a:lnTo>
                        <a:pt x="20" y="207"/>
                      </a:lnTo>
                      <a:lnTo>
                        <a:pt x="9" y="227"/>
                      </a:lnTo>
                      <a:lnTo>
                        <a:pt x="2" y="245"/>
                      </a:lnTo>
                      <a:lnTo>
                        <a:pt x="0" y="252"/>
                      </a:lnTo>
                      <a:lnTo>
                        <a:pt x="0" y="257"/>
                      </a:lnTo>
                      <a:lnTo>
                        <a:pt x="0" y="263"/>
                      </a:lnTo>
                      <a:lnTo>
                        <a:pt x="4" y="266"/>
                      </a:lnTo>
                      <a:lnTo>
                        <a:pt x="4" y="266"/>
                      </a:lnTo>
                      <a:lnTo>
                        <a:pt x="7" y="268"/>
                      </a:lnTo>
                      <a:lnTo>
                        <a:pt x="11" y="268"/>
                      </a:lnTo>
                      <a:lnTo>
                        <a:pt x="18" y="268"/>
                      </a:lnTo>
                      <a:lnTo>
                        <a:pt x="25" y="266"/>
                      </a:lnTo>
                      <a:lnTo>
                        <a:pt x="41" y="259"/>
                      </a:lnTo>
                      <a:lnTo>
                        <a:pt x="61" y="248"/>
                      </a:lnTo>
                      <a:lnTo>
                        <a:pt x="85" y="232"/>
                      </a:lnTo>
                      <a:lnTo>
                        <a:pt x="110" y="212"/>
                      </a:lnTo>
                      <a:lnTo>
                        <a:pt x="137" y="191"/>
                      </a:lnTo>
                      <a:lnTo>
                        <a:pt x="164" y="164"/>
                      </a:lnTo>
                      <a:lnTo>
                        <a:pt x="164" y="164"/>
                      </a:lnTo>
                      <a:lnTo>
                        <a:pt x="189" y="137"/>
                      </a:lnTo>
                      <a:lnTo>
                        <a:pt x="212" y="111"/>
                      </a:lnTo>
                      <a:lnTo>
                        <a:pt x="232" y="86"/>
                      </a:lnTo>
                      <a:lnTo>
                        <a:pt x="247" y="63"/>
                      </a:lnTo>
                      <a:lnTo>
                        <a:pt x="259" y="43"/>
                      </a:lnTo>
                      <a:lnTo>
                        <a:pt x="266" y="25"/>
                      </a:lnTo>
                      <a:lnTo>
                        <a:pt x="268" y="18"/>
                      </a:lnTo>
                      <a:lnTo>
                        <a:pt x="268" y="12"/>
                      </a:lnTo>
                      <a:lnTo>
                        <a:pt x="266" y="7"/>
                      </a:lnTo>
                      <a:lnTo>
                        <a:pt x="265" y="3"/>
                      </a:lnTo>
                      <a:lnTo>
                        <a:pt x="265"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2" name="Freeform 15"/>
                <p:cNvSpPr/>
                <p:nvPr/>
              </p:nvSpPr>
              <p:spPr bwMode="auto">
                <a:xfrm>
                  <a:off x="5608638" y="7046913"/>
                  <a:ext cx="176213" cy="176213"/>
                </a:xfrm>
                <a:custGeom>
                  <a:avLst/>
                  <a:gdLst>
                    <a:gd name="T0" fmla="*/ 218 w 221"/>
                    <a:gd name="T1" fmla="*/ 4 h 221"/>
                    <a:gd name="T2" fmla="*/ 218 w 221"/>
                    <a:gd name="T3" fmla="*/ 4 h 221"/>
                    <a:gd name="T4" fmla="*/ 214 w 221"/>
                    <a:gd name="T5" fmla="*/ 2 h 221"/>
                    <a:gd name="T6" fmla="*/ 209 w 221"/>
                    <a:gd name="T7" fmla="*/ 0 h 221"/>
                    <a:gd name="T8" fmla="*/ 198 w 221"/>
                    <a:gd name="T9" fmla="*/ 2 h 221"/>
                    <a:gd name="T10" fmla="*/ 182 w 221"/>
                    <a:gd name="T11" fmla="*/ 5 h 221"/>
                    <a:gd name="T12" fmla="*/ 165 w 221"/>
                    <a:gd name="T13" fmla="*/ 14 h 221"/>
                    <a:gd name="T14" fmla="*/ 146 w 221"/>
                    <a:gd name="T15" fmla="*/ 27 h 221"/>
                    <a:gd name="T16" fmla="*/ 124 w 221"/>
                    <a:gd name="T17" fmla="*/ 43 h 221"/>
                    <a:gd name="T18" fmla="*/ 102 w 221"/>
                    <a:gd name="T19" fmla="*/ 61 h 221"/>
                    <a:gd name="T20" fmla="*/ 81 w 221"/>
                    <a:gd name="T21" fmla="*/ 81 h 221"/>
                    <a:gd name="T22" fmla="*/ 81 w 221"/>
                    <a:gd name="T23" fmla="*/ 81 h 221"/>
                    <a:gd name="T24" fmla="*/ 59 w 221"/>
                    <a:gd name="T25" fmla="*/ 104 h 221"/>
                    <a:gd name="T26" fmla="*/ 41 w 221"/>
                    <a:gd name="T27" fmla="*/ 126 h 221"/>
                    <a:gd name="T28" fmla="*/ 27 w 221"/>
                    <a:gd name="T29" fmla="*/ 146 h 221"/>
                    <a:gd name="T30" fmla="*/ 14 w 221"/>
                    <a:gd name="T31" fmla="*/ 166 h 221"/>
                    <a:gd name="T32" fmla="*/ 5 w 221"/>
                    <a:gd name="T33" fmla="*/ 184 h 221"/>
                    <a:gd name="T34" fmla="*/ 0 w 221"/>
                    <a:gd name="T35" fmla="*/ 198 h 221"/>
                    <a:gd name="T36" fmla="*/ 0 w 221"/>
                    <a:gd name="T37" fmla="*/ 211 h 221"/>
                    <a:gd name="T38" fmla="*/ 2 w 221"/>
                    <a:gd name="T39" fmla="*/ 214 h 221"/>
                    <a:gd name="T40" fmla="*/ 3 w 221"/>
                    <a:gd name="T41" fmla="*/ 218 h 221"/>
                    <a:gd name="T42" fmla="*/ 3 w 221"/>
                    <a:gd name="T43" fmla="*/ 218 h 221"/>
                    <a:gd name="T44" fmla="*/ 7 w 221"/>
                    <a:gd name="T45" fmla="*/ 220 h 221"/>
                    <a:gd name="T46" fmla="*/ 12 w 221"/>
                    <a:gd name="T47" fmla="*/ 221 h 221"/>
                    <a:gd name="T48" fmla="*/ 23 w 221"/>
                    <a:gd name="T49" fmla="*/ 221 h 221"/>
                    <a:gd name="T50" fmla="*/ 38 w 221"/>
                    <a:gd name="T51" fmla="*/ 216 h 221"/>
                    <a:gd name="T52" fmla="*/ 56 w 221"/>
                    <a:gd name="T53" fmla="*/ 207 h 221"/>
                    <a:gd name="T54" fmla="*/ 75 w 221"/>
                    <a:gd name="T55" fmla="*/ 194 h 221"/>
                    <a:gd name="T56" fmla="*/ 95 w 221"/>
                    <a:gd name="T57" fmla="*/ 180 h 221"/>
                    <a:gd name="T58" fmla="*/ 117 w 221"/>
                    <a:gd name="T59" fmla="*/ 162 h 221"/>
                    <a:gd name="T60" fmla="*/ 140 w 221"/>
                    <a:gd name="T61" fmla="*/ 140 h 221"/>
                    <a:gd name="T62" fmla="*/ 140 w 221"/>
                    <a:gd name="T63" fmla="*/ 140 h 221"/>
                    <a:gd name="T64" fmla="*/ 160 w 221"/>
                    <a:gd name="T65" fmla="*/ 119 h 221"/>
                    <a:gd name="T66" fmla="*/ 178 w 221"/>
                    <a:gd name="T67" fmla="*/ 97 h 221"/>
                    <a:gd name="T68" fmla="*/ 194 w 221"/>
                    <a:gd name="T69" fmla="*/ 76 h 221"/>
                    <a:gd name="T70" fmla="*/ 207 w 221"/>
                    <a:gd name="T71" fmla="*/ 56 h 221"/>
                    <a:gd name="T72" fmla="*/ 216 w 221"/>
                    <a:gd name="T73" fmla="*/ 40 h 221"/>
                    <a:gd name="T74" fmla="*/ 219 w 221"/>
                    <a:gd name="T75" fmla="*/ 23 h 221"/>
                    <a:gd name="T76" fmla="*/ 221 w 221"/>
                    <a:gd name="T77" fmla="*/ 13 h 221"/>
                    <a:gd name="T78" fmla="*/ 219 w 221"/>
                    <a:gd name="T79" fmla="*/ 7 h 221"/>
                    <a:gd name="T80" fmla="*/ 218 w 221"/>
                    <a:gd name="T81" fmla="*/ 4 h 221"/>
                    <a:gd name="T82" fmla="*/ 218 w 221"/>
                    <a:gd name="T83" fmla="*/ 4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1" h="221">
                      <a:moveTo>
                        <a:pt x="218" y="4"/>
                      </a:moveTo>
                      <a:lnTo>
                        <a:pt x="218" y="4"/>
                      </a:lnTo>
                      <a:lnTo>
                        <a:pt x="214" y="2"/>
                      </a:lnTo>
                      <a:lnTo>
                        <a:pt x="209" y="0"/>
                      </a:lnTo>
                      <a:lnTo>
                        <a:pt x="198" y="2"/>
                      </a:lnTo>
                      <a:lnTo>
                        <a:pt x="182" y="5"/>
                      </a:lnTo>
                      <a:lnTo>
                        <a:pt x="165" y="14"/>
                      </a:lnTo>
                      <a:lnTo>
                        <a:pt x="146" y="27"/>
                      </a:lnTo>
                      <a:lnTo>
                        <a:pt x="124" y="43"/>
                      </a:lnTo>
                      <a:lnTo>
                        <a:pt x="102" y="61"/>
                      </a:lnTo>
                      <a:lnTo>
                        <a:pt x="81" y="81"/>
                      </a:lnTo>
                      <a:lnTo>
                        <a:pt x="81" y="81"/>
                      </a:lnTo>
                      <a:lnTo>
                        <a:pt x="59" y="104"/>
                      </a:lnTo>
                      <a:lnTo>
                        <a:pt x="41" y="126"/>
                      </a:lnTo>
                      <a:lnTo>
                        <a:pt x="27" y="146"/>
                      </a:lnTo>
                      <a:lnTo>
                        <a:pt x="14" y="166"/>
                      </a:lnTo>
                      <a:lnTo>
                        <a:pt x="5" y="184"/>
                      </a:lnTo>
                      <a:lnTo>
                        <a:pt x="0" y="198"/>
                      </a:lnTo>
                      <a:lnTo>
                        <a:pt x="0" y="211"/>
                      </a:lnTo>
                      <a:lnTo>
                        <a:pt x="2" y="214"/>
                      </a:lnTo>
                      <a:lnTo>
                        <a:pt x="3" y="218"/>
                      </a:lnTo>
                      <a:lnTo>
                        <a:pt x="3" y="218"/>
                      </a:lnTo>
                      <a:lnTo>
                        <a:pt x="7" y="220"/>
                      </a:lnTo>
                      <a:lnTo>
                        <a:pt x="12" y="221"/>
                      </a:lnTo>
                      <a:lnTo>
                        <a:pt x="23" y="221"/>
                      </a:lnTo>
                      <a:lnTo>
                        <a:pt x="38" y="216"/>
                      </a:lnTo>
                      <a:lnTo>
                        <a:pt x="56" y="207"/>
                      </a:lnTo>
                      <a:lnTo>
                        <a:pt x="75" y="194"/>
                      </a:lnTo>
                      <a:lnTo>
                        <a:pt x="95" y="180"/>
                      </a:lnTo>
                      <a:lnTo>
                        <a:pt x="117" y="162"/>
                      </a:lnTo>
                      <a:lnTo>
                        <a:pt x="140" y="140"/>
                      </a:lnTo>
                      <a:lnTo>
                        <a:pt x="140" y="140"/>
                      </a:lnTo>
                      <a:lnTo>
                        <a:pt x="160" y="119"/>
                      </a:lnTo>
                      <a:lnTo>
                        <a:pt x="178" y="97"/>
                      </a:lnTo>
                      <a:lnTo>
                        <a:pt x="194" y="76"/>
                      </a:lnTo>
                      <a:lnTo>
                        <a:pt x="207" y="56"/>
                      </a:lnTo>
                      <a:lnTo>
                        <a:pt x="216" y="40"/>
                      </a:lnTo>
                      <a:lnTo>
                        <a:pt x="219" y="23"/>
                      </a:lnTo>
                      <a:lnTo>
                        <a:pt x="221" y="13"/>
                      </a:lnTo>
                      <a:lnTo>
                        <a:pt x="219" y="7"/>
                      </a:lnTo>
                      <a:lnTo>
                        <a:pt x="218" y="4"/>
                      </a:lnTo>
                      <a:lnTo>
                        <a:pt x="218"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3" name="Freeform 16"/>
                <p:cNvSpPr/>
                <p:nvPr/>
              </p:nvSpPr>
              <p:spPr bwMode="auto">
                <a:xfrm>
                  <a:off x="5773738" y="7213601"/>
                  <a:ext cx="176213" cy="174625"/>
                </a:xfrm>
                <a:custGeom>
                  <a:avLst/>
                  <a:gdLst>
                    <a:gd name="T0" fmla="*/ 81 w 221"/>
                    <a:gd name="T1" fmla="*/ 81 h 219"/>
                    <a:gd name="T2" fmla="*/ 81 w 221"/>
                    <a:gd name="T3" fmla="*/ 81 h 219"/>
                    <a:gd name="T4" fmla="*/ 61 w 221"/>
                    <a:gd name="T5" fmla="*/ 102 h 219"/>
                    <a:gd name="T6" fmla="*/ 41 w 221"/>
                    <a:gd name="T7" fmla="*/ 124 h 219"/>
                    <a:gd name="T8" fmla="*/ 27 w 221"/>
                    <a:gd name="T9" fmla="*/ 145 h 219"/>
                    <a:gd name="T10" fmla="*/ 14 w 221"/>
                    <a:gd name="T11" fmla="*/ 163 h 219"/>
                    <a:gd name="T12" fmla="*/ 5 w 221"/>
                    <a:gd name="T13" fmla="*/ 181 h 219"/>
                    <a:gd name="T14" fmla="*/ 1 w 221"/>
                    <a:gd name="T15" fmla="*/ 196 h 219"/>
                    <a:gd name="T16" fmla="*/ 0 w 221"/>
                    <a:gd name="T17" fmla="*/ 208 h 219"/>
                    <a:gd name="T18" fmla="*/ 1 w 221"/>
                    <a:gd name="T19" fmla="*/ 212 h 219"/>
                    <a:gd name="T20" fmla="*/ 3 w 221"/>
                    <a:gd name="T21" fmla="*/ 216 h 219"/>
                    <a:gd name="T22" fmla="*/ 3 w 221"/>
                    <a:gd name="T23" fmla="*/ 216 h 219"/>
                    <a:gd name="T24" fmla="*/ 7 w 221"/>
                    <a:gd name="T25" fmla="*/ 219 h 219"/>
                    <a:gd name="T26" fmla="*/ 12 w 221"/>
                    <a:gd name="T27" fmla="*/ 219 h 219"/>
                    <a:gd name="T28" fmla="*/ 23 w 221"/>
                    <a:gd name="T29" fmla="*/ 219 h 219"/>
                    <a:gd name="T30" fmla="*/ 37 w 221"/>
                    <a:gd name="T31" fmla="*/ 214 h 219"/>
                    <a:gd name="T32" fmla="*/ 55 w 221"/>
                    <a:gd name="T33" fmla="*/ 205 h 219"/>
                    <a:gd name="T34" fmla="*/ 75 w 221"/>
                    <a:gd name="T35" fmla="*/ 194 h 219"/>
                    <a:gd name="T36" fmla="*/ 97 w 221"/>
                    <a:gd name="T37" fmla="*/ 178 h 219"/>
                    <a:gd name="T38" fmla="*/ 118 w 221"/>
                    <a:gd name="T39" fmla="*/ 160 h 219"/>
                    <a:gd name="T40" fmla="*/ 140 w 221"/>
                    <a:gd name="T41" fmla="*/ 138 h 219"/>
                    <a:gd name="T42" fmla="*/ 140 w 221"/>
                    <a:gd name="T43" fmla="*/ 138 h 219"/>
                    <a:gd name="T44" fmla="*/ 160 w 221"/>
                    <a:gd name="T45" fmla="*/ 117 h 219"/>
                    <a:gd name="T46" fmla="*/ 180 w 221"/>
                    <a:gd name="T47" fmla="*/ 95 h 219"/>
                    <a:gd name="T48" fmla="*/ 194 w 221"/>
                    <a:gd name="T49" fmla="*/ 73 h 219"/>
                    <a:gd name="T50" fmla="*/ 207 w 221"/>
                    <a:gd name="T51" fmla="*/ 55 h 219"/>
                    <a:gd name="T52" fmla="*/ 216 w 221"/>
                    <a:gd name="T53" fmla="*/ 37 h 219"/>
                    <a:gd name="T54" fmla="*/ 221 w 221"/>
                    <a:gd name="T55" fmla="*/ 23 h 219"/>
                    <a:gd name="T56" fmla="*/ 221 w 221"/>
                    <a:gd name="T57" fmla="*/ 10 h 219"/>
                    <a:gd name="T58" fmla="*/ 219 w 221"/>
                    <a:gd name="T59" fmla="*/ 7 h 219"/>
                    <a:gd name="T60" fmla="*/ 217 w 221"/>
                    <a:gd name="T61" fmla="*/ 3 h 219"/>
                    <a:gd name="T62" fmla="*/ 217 w 221"/>
                    <a:gd name="T63" fmla="*/ 3 h 219"/>
                    <a:gd name="T64" fmla="*/ 214 w 221"/>
                    <a:gd name="T65" fmla="*/ 0 h 219"/>
                    <a:gd name="T66" fmla="*/ 208 w 221"/>
                    <a:gd name="T67" fmla="*/ 0 h 219"/>
                    <a:gd name="T68" fmla="*/ 198 w 221"/>
                    <a:gd name="T69" fmla="*/ 0 h 219"/>
                    <a:gd name="T70" fmla="*/ 183 w 221"/>
                    <a:gd name="T71" fmla="*/ 5 h 219"/>
                    <a:gd name="T72" fmla="*/ 165 w 221"/>
                    <a:gd name="T73" fmla="*/ 12 h 219"/>
                    <a:gd name="T74" fmla="*/ 145 w 221"/>
                    <a:gd name="T75" fmla="*/ 25 h 219"/>
                    <a:gd name="T76" fmla="*/ 126 w 221"/>
                    <a:gd name="T77" fmla="*/ 41 h 219"/>
                    <a:gd name="T78" fmla="*/ 104 w 221"/>
                    <a:gd name="T79" fmla="*/ 59 h 219"/>
                    <a:gd name="T80" fmla="*/ 81 w 221"/>
                    <a:gd name="T81" fmla="*/ 81 h 219"/>
                    <a:gd name="T82" fmla="*/ 81 w 221"/>
                    <a:gd name="T83" fmla="*/ 8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1" h="219">
                      <a:moveTo>
                        <a:pt x="81" y="81"/>
                      </a:moveTo>
                      <a:lnTo>
                        <a:pt x="81" y="81"/>
                      </a:lnTo>
                      <a:lnTo>
                        <a:pt x="61" y="102"/>
                      </a:lnTo>
                      <a:lnTo>
                        <a:pt x="41" y="124"/>
                      </a:lnTo>
                      <a:lnTo>
                        <a:pt x="27" y="145"/>
                      </a:lnTo>
                      <a:lnTo>
                        <a:pt x="14" y="163"/>
                      </a:lnTo>
                      <a:lnTo>
                        <a:pt x="5" y="181"/>
                      </a:lnTo>
                      <a:lnTo>
                        <a:pt x="1" y="196"/>
                      </a:lnTo>
                      <a:lnTo>
                        <a:pt x="0" y="208"/>
                      </a:lnTo>
                      <a:lnTo>
                        <a:pt x="1" y="212"/>
                      </a:lnTo>
                      <a:lnTo>
                        <a:pt x="3" y="216"/>
                      </a:lnTo>
                      <a:lnTo>
                        <a:pt x="3" y="216"/>
                      </a:lnTo>
                      <a:lnTo>
                        <a:pt x="7" y="219"/>
                      </a:lnTo>
                      <a:lnTo>
                        <a:pt x="12" y="219"/>
                      </a:lnTo>
                      <a:lnTo>
                        <a:pt x="23" y="219"/>
                      </a:lnTo>
                      <a:lnTo>
                        <a:pt x="37" y="214"/>
                      </a:lnTo>
                      <a:lnTo>
                        <a:pt x="55" y="205"/>
                      </a:lnTo>
                      <a:lnTo>
                        <a:pt x="75" y="194"/>
                      </a:lnTo>
                      <a:lnTo>
                        <a:pt x="97" y="178"/>
                      </a:lnTo>
                      <a:lnTo>
                        <a:pt x="118" y="160"/>
                      </a:lnTo>
                      <a:lnTo>
                        <a:pt x="140" y="138"/>
                      </a:lnTo>
                      <a:lnTo>
                        <a:pt x="140" y="138"/>
                      </a:lnTo>
                      <a:lnTo>
                        <a:pt x="160" y="117"/>
                      </a:lnTo>
                      <a:lnTo>
                        <a:pt x="180" y="95"/>
                      </a:lnTo>
                      <a:lnTo>
                        <a:pt x="194" y="73"/>
                      </a:lnTo>
                      <a:lnTo>
                        <a:pt x="207" y="55"/>
                      </a:lnTo>
                      <a:lnTo>
                        <a:pt x="216" y="37"/>
                      </a:lnTo>
                      <a:lnTo>
                        <a:pt x="221" y="23"/>
                      </a:lnTo>
                      <a:lnTo>
                        <a:pt x="221" y="10"/>
                      </a:lnTo>
                      <a:lnTo>
                        <a:pt x="219" y="7"/>
                      </a:lnTo>
                      <a:lnTo>
                        <a:pt x="217" y="3"/>
                      </a:lnTo>
                      <a:lnTo>
                        <a:pt x="217" y="3"/>
                      </a:lnTo>
                      <a:lnTo>
                        <a:pt x="214" y="0"/>
                      </a:lnTo>
                      <a:lnTo>
                        <a:pt x="208" y="0"/>
                      </a:lnTo>
                      <a:lnTo>
                        <a:pt x="198" y="0"/>
                      </a:lnTo>
                      <a:lnTo>
                        <a:pt x="183" y="5"/>
                      </a:lnTo>
                      <a:lnTo>
                        <a:pt x="165" y="12"/>
                      </a:lnTo>
                      <a:lnTo>
                        <a:pt x="145" y="25"/>
                      </a:lnTo>
                      <a:lnTo>
                        <a:pt x="126" y="41"/>
                      </a:lnTo>
                      <a:lnTo>
                        <a:pt x="104" y="59"/>
                      </a:lnTo>
                      <a:lnTo>
                        <a:pt x="81" y="81"/>
                      </a:lnTo>
                      <a:lnTo>
                        <a:pt x="81" y="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4" name="Freeform 17"/>
                <p:cNvSpPr>
                  <a:spLocks noEditPoints="1"/>
                </p:cNvSpPr>
                <p:nvPr/>
              </p:nvSpPr>
              <p:spPr bwMode="auto">
                <a:xfrm>
                  <a:off x="5630863" y="6561138"/>
                  <a:ext cx="804863" cy="806450"/>
                </a:xfrm>
                <a:custGeom>
                  <a:avLst/>
                  <a:gdLst>
                    <a:gd name="T0" fmla="*/ 990 w 1013"/>
                    <a:gd name="T1" fmla="*/ 13 h 1015"/>
                    <a:gd name="T2" fmla="*/ 964 w 1013"/>
                    <a:gd name="T3" fmla="*/ 4 h 1015"/>
                    <a:gd name="T4" fmla="*/ 882 w 1013"/>
                    <a:gd name="T5" fmla="*/ 4 h 1015"/>
                    <a:gd name="T6" fmla="*/ 770 w 1013"/>
                    <a:gd name="T7" fmla="*/ 34 h 1015"/>
                    <a:gd name="T8" fmla="*/ 640 w 1013"/>
                    <a:gd name="T9" fmla="*/ 92 h 1015"/>
                    <a:gd name="T10" fmla="*/ 504 w 1013"/>
                    <a:gd name="T11" fmla="*/ 182 h 1015"/>
                    <a:gd name="T12" fmla="*/ 297 w 1013"/>
                    <a:gd name="T13" fmla="*/ 380 h 1015"/>
                    <a:gd name="T14" fmla="*/ 286 w 1013"/>
                    <a:gd name="T15" fmla="*/ 385 h 1015"/>
                    <a:gd name="T16" fmla="*/ 273 w 1013"/>
                    <a:gd name="T17" fmla="*/ 387 h 1015"/>
                    <a:gd name="T18" fmla="*/ 172 w 1013"/>
                    <a:gd name="T19" fmla="*/ 387 h 1015"/>
                    <a:gd name="T20" fmla="*/ 73 w 1013"/>
                    <a:gd name="T21" fmla="*/ 412 h 1015"/>
                    <a:gd name="T22" fmla="*/ 12 w 1013"/>
                    <a:gd name="T23" fmla="*/ 445 h 1015"/>
                    <a:gd name="T24" fmla="*/ 0 w 1013"/>
                    <a:gd name="T25" fmla="*/ 464 h 1015"/>
                    <a:gd name="T26" fmla="*/ 7 w 1013"/>
                    <a:gd name="T27" fmla="*/ 486 h 1015"/>
                    <a:gd name="T28" fmla="*/ 21 w 1013"/>
                    <a:gd name="T29" fmla="*/ 493 h 1015"/>
                    <a:gd name="T30" fmla="*/ 154 w 1013"/>
                    <a:gd name="T31" fmla="*/ 531 h 1015"/>
                    <a:gd name="T32" fmla="*/ 279 w 1013"/>
                    <a:gd name="T33" fmla="*/ 599 h 1015"/>
                    <a:gd name="T34" fmla="*/ 352 w 1013"/>
                    <a:gd name="T35" fmla="*/ 662 h 1015"/>
                    <a:gd name="T36" fmla="*/ 441 w 1013"/>
                    <a:gd name="T37" fmla="*/ 776 h 1015"/>
                    <a:gd name="T38" fmla="*/ 500 w 1013"/>
                    <a:gd name="T39" fmla="*/ 904 h 1015"/>
                    <a:gd name="T40" fmla="*/ 520 w 1013"/>
                    <a:gd name="T41" fmla="*/ 994 h 1015"/>
                    <a:gd name="T42" fmla="*/ 534 w 1013"/>
                    <a:gd name="T43" fmla="*/ 1012 h 1015"/>
                    <a:gd name="T44" fmla="*/ 558 w 1013"/>
                    <a:gd name="T45" fmla="*/ 1013 h 1015"/>
                    <a:gd name="T46" fmla="*/ 570 w 1013"/>
                    <a:gd name="T47" fmla="*/ 1003 h 1015"/>
                    <a:gd name="T48" fmla="*/ 612 w 1013"/>
                    <a:gd name="T49" fmla="*/ 907 h 1015"/>
                    <a:gd name="T50" fmla="*/ 630 w 1013"/>
                    <a:gd name="T51" fmla="*/ 808 h 1015"/>
                    <a:gd name="T52" fmla="*/ 626 w 1013"/>
                    <a:gd name="T53" fmla="*/ 740 h 1015"/>
                    <a:gd name="T54" fmla="*/ 630 w 1013"/>
                    <a:gd name="T55" fmla="*/ 722 h 1015"/>
                    <a:gd name="T56" fmla="*/ 754 w 1013"/>
                    <a:gd name="T57" fmla="*/ 598 h 1015"/>
                    <a:gd name="T58" fmla="*/ 865 w 1013"/>
                    <a:gd name="T59" fmla="*/ 464 h 1015"/>
                    <a:gd name="T60" fmla="*/ 945 w 1013"/>
                    <a:gd name="T61" fmla="*/ 330 h 1015"/>
                    <a:gd name="T62" fmla="*/ 993 w 1013"/>
                    <a:gd name="T63" fmla="*/ 204 h 1015"/>
                    <a:gd name="T64" fmla="*/ 1013 w 1013"/>
                    <a:gd name="T65" fmla="*/ 101 h 1015"/>
                    <a:gd name="T66" fmla="*/ 1008 w 1013"/>
                    <a:gd name="T67" fmla="*/ 40 h 1015"/>
                    <a:gd name="T68" fmla="*/ 995 w 1013"/>
                    <a:gd name="T69" fmla="*/ 18 h 1015"/>
                    <a:gd name="T70" fmla="*/ 644 w 1013"/>
                    <a:gd name="T71" fmla="*/ 533 h 1015"/>
                    <a:gd name="T72" fmla="*/ 592 w 1013"/>
                    <a:gd name="T73" fmla="*/ 560 h 1015"/>
                    <a:gd name="T74" fmla="*/ 534 w 1013"/>
                    <a:gd name="T75" fmla="*/ 554 h 1015"/>
                    <a:gd name="T76" fmla="*/ 500 w 1013"/>
                    <a:gd name="T77" fmla="*/ 533 h 1015"/>
                    <a:gd name="T78" fmla="*/ 473 w 1013"/>
                    <a:gd name="T79" fmla="*/ 481 h 1015"/>
                    <a:gd name="T80" fmla="*/ 478 w 1013"/>
                    <a:gd name="T81" fmla="*/ 423 h 1015"/>
                    <a:gd name="T82" fmla="*/ 500 w 1013"/>
                    <a:gd name="T83" fmla="*/ 389 h 1015"/>
                    <a:gd name="T84" fmla="*/ 552 w 1013"/>
                    <a:gd name="T85" fmla="*/ 362 h 1015"/>
                    <a:gd name="T86" fmla="*/ 610 w 1013"/>
                    <a:gd name="T87" fmla="*/ 367 h 1015"/>
                    <a:gd name="T88" fmla="*/ 644 w 1013"/>
                    <a:gd name="T89" fmla="*/ 389 h 1015"/>
                    <a:gd name="T90" fmla="*/ 671 w 1013"/>
                    <a:gd name="T91" fmla="*/ 441 h 1015"/>
                    <a:gd name="T92" fmla="*/ 666 w 1013"/>
                    <a:gd name="T93" fmla="*/ 499 h 1015"/>
                    <a:gd name="T94" fmla="*/ 644 w 1013"/>
                    <a:gd name="T95" fmla="*/ 53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13" h="1015">
                      <a:moveTo>
                        <a:pt x="995" y="18"/>
                      </a:moveTo>
                      <a:lnTo>
                        <a:pt x="995" y="18"/>
                      </a:lnTo>
                      <a:lnTo>
                        <a:pt x="990" y="13"/>
                      </a:lnTo>
                      <a:lnTo>
                        <a:pt x="982" y="9"/>
                      </a:lnTo>
                      <a:lnTo>
                        <a:pt x="973" y="6"/>
                      </a:lnTo>
                      <a:lnTo>
                        <a:pt x="964" y="4"/>
                      </a:lnTo>
                      <a:lnTo>
                        <a:pt x="941" y="0"/>
                      </a:lnTo>
                      <a:lnTo>
                        <a:pt x="914" y="2"/>
                      </a:lnTo>
                      <a:lnTo>
                        <a:pt x="882" y="4"/>
                      </a:lnTo>
                      <a:lnTo>
                        <a:pt x="847" y="11"/>
                      </a:lnTo>
                      <a:lnTo>
                        <a:pt x="810" y="20"/>
                      </a:lnTo>
                      <a:lnTo>
                        <a:pt x="770" y="34"/>
                      </a:lnTo>
                      <a:lnTo>
                        <a:pt x="729" y="51"/>
                      </a:lnTo>
                      <a:lnTo>
                        <a:pt x="685" y="69"/>
                      </a:lnTo>
                      <a:lnTo>
                        <a:pt x="640" y="92"/>
                      </a:lnTo>
                      <a:lnTo>
                        <a:pt x="595" y="119"/>
                      </a:lnTo>
                      <a:lnTo>
                        <a:pt x="549" y="148"/>
                      </a:lnTo>
                      <a:lnTo>
                        <a:pt x="504" y="182"/>
                      </a:lnTo>
                      <a:lnTo>
                        <a:pt x="460" y="220"/>
                      </a:lnTo>
                      <a:lnTo>
                        <a:pt x="415" y="259"/>
                      </a:lnTo>
                      <a:lnTo>
                        <a:pt x="297" y="380"/>
                      </a:lnTo>
                      <a:lnTo>
                        <a:pt x="297" y="380"/>
                      </a:lnTo>
                      <a:lnTo>
                        <a:pt x="291" y="384"/>
                      </a:lnTo>
                      <a:lnTo>
                        <a:pt x="286" y="385"/>
                      </a:lnTo>
                      <a:lnTo>
                        <a:pt x="280" y="387"/>
                      </a:lnTo>
                      <a:lnTo>
                        <a:pt x="273" y="387"/>
                      </a:lnTo>
                      <a:lnTo>
                        <a:pt x="273" y="387"/>
                      </a:lnTo>
                      <a:lnTo>
                        <a:pt x="241" y="385"/>
                      </a:lnTo>
                      <a:lnTo>
                        <a:pt x="207" y="385"/>
                      </a:lnTo>
                      <a:lnTo>
                        <a:pt x="172" y="387"/>
                      </a:lnTo>
                      <a:lnTo>
                        <a:pt x="138" y="393"/>
                      </a:lnTo>
                      <a:lnTo>
                        <a:pt x="106" y="402"/>
                      </a:lnTo>
                      <a:lnTo>
                        <a:pt x="73" y="412"/>
                      </a:lnTo>
                      <a:lnTo>
                        <a:pt x="43" y="427"/>
                      </a:lnTo>
                      <a:lnTo>
                        <a:pt x="12" y="445"/>
                      </a:lnTo>
                      <a:lnTo>
                        <a:pt x="12" y="445"/>
                      </a:lnTo>
                      <a:lnTo>
                        <a:pt x="5" y="450"/>
                      </a:lnTo>
                      <a:lnTo>
                        <a:pt x="1" y="457"/>
                      </a:lnTo>
                      <a:lnTo>
                        <a:pt x="0" y="464"/>
                      </a:lnTo>
                      <a:lnTo>
                        <a:pt x="0" y="472"/>
                      </a:lnTo>
                      <a:lnTo>
                        <a:pt x="1" y="479"/>
                      </a:lnTo>
                      <a:lnTo>
                        <a:pt x="7" y="486"/>
                      </a:lnTo>
                      <a:lnTo>
                        <a:pt x="12" y="491"/>
                      </a:lnTo>
                      <a:lnTo>
                        <a:pt x="21" y="493"/>
                      </a:lnTo>
                      <a:lnTo>
                        <a:pt x="21" y="493"/>
                      </a:lnTo>
                      <a:lnTo>
                        <a:pt x="66" y="502"/>
                      </a:lnTo>
                      <a:lnTo>
                        <a:pt x="111" y="515"/>
                      </a:lnTo>
                      <a:lnTo>
                        <a:pt x="154" y="531"/>
                      </a:lnTo>
                      <a:lnTo>
                        <a:pt x="198" y="551"/>
                      </a:lnTo>
                      <a:lnTo>
                        <a:pt x="237" y="572"/>
                      </a:lnTo>
                      <a:lnTo>
                        <a:pt x="279" y="599"/>
                      </a:lnTo>
                      <a:lnTo>
                        <a:pt x="316" y="628"/>
                      </a:lnTo>
                      <a:lnTo>
                        <a:pt x="352" y="662"/>
                      </a:lnTo>
                      <a:lnTo>
                        <a:pt x="352" y="662"/>
                      </a:lnTo>
                      <a:lnTo>
                        <a:pt x="385" y="698"/>
                      </a:lnTo>
                      <a:lnTo>
                        <a:pt x="415" y="736"/>
                      </a:lnTo>
                      <a:lnTo>
                        <a:pt x="441" y="776"/>
                      </a:lnTo>
                      <a:lnTo>
                        <a:pt x="464" y="817"/>
                      </a:lnTo>
                      <a:lnTo>
                        <a:pt x="484" y="860"/>
                      </a:lnTo>
                      <a:lnTo>
                        <a:pt x="500" y="904"/>
                      </a:lnTo>
                      <a:lnTo>
                        <a:pt x="511" y="947"/>
                      </a:lnTo>
                      <a:lnTo>
                        <a:pt x="520" y="994"/>
                      </a:lnTo>
                      <a:lnTo>
                        <a:pt x="520" y="994"/>
                      </a:lnTo>
                      <a:lnTo>
                        <a:pt x="523" y="1001"/>
                      </a:lnTo>
                      <a:lnTo>
                        <a:pt x="529" y="1008"/>
                      </a:lnTo>
                      <a:lnTo>
                        <a:pt x="534" y="1012"/>
                      </a:lnTo>
                      <a:lnTo>
                        <a:pt x="541" y="1015"/>
                      </a:lnTo>
                      <a:lnTo>
                        <a:pt x="549" y="1015"/>
                      </a:lnTo>
                      <a:lnTo>
                        <a:pt x="558" y="1013"/>
                      </a:lnTo>
                      <a:lnTo>
                        <a:pt x="565" y="1008"/>
                      </a:lnTo>
                      <a:lnTo>
                        <a:pt x="570" y="1003"/>
                      </a:lnTo>
                      <a:lnTo>
                        <a:pt x="570" y="1003"/>
                      </a:lnTo>
                      <a:lnTo>
                        <a:pt x="586" y="972"/>
                      </a:lnTo>
                      <a:lnTo>
                        <a:pt x="601" y="940"/>
                      </a:lnTo>
                      <a:lnTo>
                        <a:pt x="612" y="907"/>
                      </a:lnTo>
                      <a:lnTo>
                        <a:pt x="621" y="875"/>
                      </a:lnTo>
                      <a:lnTo>
                        <a:pt x="626" y="841"/>
                      </a:lnTo>
                      <a:lnTo>
                        <a:pt x="630" y="808"/>
                      </a:lnTo>
                      <a:lnTo>
                        <a:pt x="630" y="774"/>
                      </a:lnTo>
                      <a:lnTo>
                        <a:pt x="626" y="740"/>
                      </a:lnTo>
                      <a:lnTo>
                        <a:pt x="626" y="740"/>
                      </a:lnTo>
                      <a:lnTo>
                        <a:pt x="626" y="734"/>
                      </a:lnTo>
                      <a:lnTo>
                        <a:pt x="628" y="727"/>
                      </a:lnTo>
                      <a:lnTo>
                        <a:pt x="630" y="722"/>
                      </a:lnTo>
                      <a:lnTo>
                        <a:pt x="635" y="718"/>
                      </a:lnTo>
                      <a:lnTo>
                        <a:pt x="754" y="598"/>
                      </a:lnTo>
                      <a:lnTo>
                        <a:pt x="754" y="598"/>
                      </a:lnTo>
                      <a:lnTo>
                        <a:pt x="795" y="554"/>
                      </a:lnTo>
                      <a:lnTo>
                        <a:pt x="831" y="509"/>
                      </a:lnTo>
                      <a:lnTo>
                        <a:pt x="865" y="464"/>
                      </a:lnTo>
                      <a:lnTo>
                        <a:pt x="896" y="420"/>
                      </a:lnTo>
                      <a:lnTo>
                        <a:pt x="921" y="375"/>
                      </a:lnTo>
                      <a:lnTo>
                        <a:pt x="945" y="330"/>
                      </a:lnTo>
                      <a:lnTo>
                        <a:pt x="964" y="286"/>
                      </a:lnTo>
                      <a:lnTo>
                        <a:pt x="981" y="243"/>
                      </a:lnTo>
                      <a:lnTo>
                        <a:pt x="993" y="204"/>
                      </a:lnTo>
                      <a:lnTo>
                        <a:pt x="1004" y="166"/>
                      </a:lnTo>
                      <a:lnTo>
                        <a:pt x="1009" y="132"/>
                      </a:lnTo>
                      <a:lnTo>
                        <a:pt x="1013" y="101"/>
                      </a:lnTo>
                      <a:lnTo>
                        <a:pt x="1013" y="72"/>
                      </a:lnTo>
                      <a:lnTo>
                        <a:pt x="1009" y="51"/>
                      </a:lnTo>
                      <a:lnTo>
                        <a:pt x="1008" y="40"/>
                      </a:lnTo>
                      <a:lnTo>
                        <a:pt x="1004" y="31"/>
                      </a:lnTo>
                      <a:lnTo>
                        <a:pt x="1000" y="24"/>
                      </a:lnTo>
                      <a:lnTo>
                        <a:pt x="995" y="18"/>
                      </a:lnTo>
                      <a:lnTo>
                        <a:pt x="995" y="18"/>
                      </a:lnTo>
                      <a:close/>
                      <a:moveTo>
                        <a:pt x="644" y="533"/>
                      </a:moveTo>
                      <a:lnTo>
                        <a:pt x="644" y="533"/>
                      </a:lnTo>
                      <a:lnTo>
                        <a:pt x="628" y="545"/>
                      </a:lnTo>
                      <a:lnTo>
                        <a:pt x="610" y="554"/>
                      </a:lnTo>
                      <a:lnTo>
                        <a:pt x="592" y="560"/>
                      </a:lnTo>
                      <a:lnTo>
                        <a:pt x="572" y="562"/>
                      </a:lnTo>
                      <a:lnTo>
                        <a:pt x="552" y="560"/>
                      </a:lnTo>
                      <a:lnTo>
                        <a:pt x="534" y="554"/>
                      </a:lnTo>
                      <a:lnTo>
                        <a:pt x="516" y="545"/>
                      </a:lnTo>
                      <a:lnTo>
                        <a:pt x="500" y="533"/>
                      </a:lnTo>
                      <a:lnTo>
                        <a:pt x="500" y="533"/>
                      </a:lnTo>
                      <a:lnTo>
                        <a:pt x="487" y="517"/>
                      </a:lnTo>
                      <a:lnTo>
                        <a:pt x="478" y="499"/>
                      </a:lnTo>
                      <a:lnTo>
                        <a:pt x="473" y="481"/>
                      </a:lnTo>
                      <a:lnTo>
                        <a:pt x="471" y="461"/>
                      </a:lnTo>
                      <a:lnTo>
                        <a:pt x="473" y="441"/>
                      </a:lnTo>
                      <a:lnTo>
                        <a:pt x="478" y="423"/>
                      </a:lnTo>
                      <a:lnTo>
                        <a:pt x="487" y="405"/>
                      </a:lnTo>
                      <a:lnTo>
                        <a:pt x="500" y="389"/>
                      </a:lnTo>
                      <a:lnTo>
                        <a:pt x="500" y="389"/>
                      </a:lnTo>
                      <a:lnTo>
                        <a:pt x="516" y="376"/>
                      </a:lnTo>
                      <a:lnTo>
                        <a:pt x="534" y="367"/>
                      </a:lnTo>
                      <a:lnTo>
                        <a:pt x="552" y="362"/>
                      </a:lnTo>
                      <a:lnTo>
                        <a:pt x="572" y="360"/>
                      </a:lnTo>
                      <a:lnTo>
                        <a:pt x="592" y="362"/>
                      </a:lnTo>
                      <a:lnTo>
                        <a:pt x="610" y="367"/>
                      </a:lnTo>
                      <a:lnTo>
                        <a:pt x="628" y="376"/>
                      </a:lnTo>
                      <a:lnTo>
                        <a:pt x="644" y="389"/>
                      </a:lnTo>
                      <a:lnTo>
                        <a:pt x="644" y="389"/>
                      </a:lnTo>
                      <a:lnTo>
                        <a:pt x="657" y="405"/>
                      </a:lnTo>
                      <a:lnTo>
                        <a:pt x="666" y="423"/>
                      </a:lnTo>
                      <a:lnTo>
                        <a:pt x="671" y="441"/>
                      </a:lnTo>
                      <a:lnTo>
                        <a:pt x="673" y="461"/>
                      </a:lnTo>
                      <a:lnTo>
                        <a:pt x="671" y="481"/>
                      </a:lnTo>
                      <a:lnTo>
                        <a:pt x="666" y="499"/>
                      </a:lnTo>
                      <a:lnTo>
                        <a:pt x="657" y="517"/>
                      </a:lnTo>
                      <a:lnTo>
                        <a:pt x="644" y="533"/>
                      </a:lnTo>
                      <a:lnTo>
                        <a:pt x="644" y="5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grpSp>
          <p:nvGrpSpPr>
            <p:cNvPr id="75" name="组合 74"/>
            <p:cNvGrpSpPr/>
            <p:nvPr/>
          </p:nvGrpSpPr>
          <p:grpSpPr>
            <a:xfrm>
              <a:off x="6719" y="5491"/>
              <a:ext cx="946" cy="946"/>
              <a:chOff x="3181819" y="1104393"/>
              <a:chExt cx="720000" cy="720000"/>
            </a:xfrm>
          </p:grpSpPr>
          <p:sp>
            <p:nvSpPr>
              <p:cNvPr id="76" name="椭圆 75"/>
              <p:cNvSpPr/>
              <p:nvPr/>
            </p:nvSpPr>
            <p:spPr>
              <a:xfrm>
                <a:off x="3181819" y="1104393"/>
                <a:ext cx="720000" cy="720000"/>
              </a:xfrm>
              <a:prstGeom prst="ellipse">
                <a:avLst/>
              </a:prstGeom>
              <a:solidFill>
                <a:srgbClr val="0067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77" name="组合 76"/>
              <p:cNvGrpSpPr/>
              <p:nvPr/>
            </p:nvGrpSpPr>
            <p:grpSpPr>
              <a:xfrm>
                <a:off x="3371664" y="1223057"/>
                <a:ext cx="340310" cy="452193"/>
                <a:chOff x="5114925" y="5351463"/>
                <a:chExt cx="695325" cy="923926"/>
              </a:xfrm>
              <a:solidFill>
                <a:schemeClr val="bg1"/>
              </a:solidFill>
            </p:grpSpPr>
            <p:sp>
              <p:nvSpPr>
                <p:cNvPr id="78" name="Freeform 18"/>
                <p:cNvSpPr/>
                <p:nvPr/>
              </p:nvSpPr>
              <p:spPr bwMode="auto">
                <a:xfrm>
                  <a:off x="5121275" y="5988051"/>
                  <a:ext cx="311150" cy="287338"/>
                </a:xfrm>
                <a:custGeom>
                  <a:avLst/>
                  <a:gdLst>
                    <a:gd name="T0" fmla="*/ 272 w 392"/>
                    <a:gd name="T1" fmla="*/ 18 h 362"/>
                    <a:gd name="T2" fmla="*/ 151 w 392"/>
                    <a:gd name="T3" fmla="*/ 18 h 362"/>
                    <a:gd name="T4" fmla="*/ 151 w 392"/>
                    <a:gd name="T5" fmla="*/ 18 h 362"/>
                    <a:gd name="T6" fmla="*/ 135 w 392"/>
                    <a:gd name="T7" fmla="*/ 17 h 362"/>
                    <a:gd name="T8" fmla="*/ 121 w 392"/>
                    <a:gd name="T9" fmla="*/ 13 h 362"/>
                    <a:gd name="T10" fmla="*/ 106 w 392"/>
                    <a:gd name="T11" fmla="*/ 8 h 362"/>
                    <a:gd name="T12" fmla="*/ 94 w 392"/>
                    <a:gd name="T13" fmla="*/ 0 h 362"/>
                    <a:gd name="T14" fmla="*/ 2 w 392"/>
                    <a:gd name="T15" fmla="*/ 225 h 362"/>
                    <a:gd name="T16" fmla="*/ 2 w 392"/>
                    <a:gd name="T17" fmla="*/ 225 h 362"/>
                    <a:gd name="T18" fmla="*/ 0 w 392"/>
                    <a:gd name="T19" fmla="*/ 233 h 362"/>
                    <a:gd name="T20" fmla="*/ 0 w 392"/>
                    <a:gd name="T21" fmla="*/ 238 h 362"/>
                    <a:gd name="T22" fmla="*/ 2 w 392"/>
                    <a:gd name="T23" fmla="*/ 242 h 362"/>
                    <a:gd name="T24" fmla="*/ 4 w 392"/>
                    <a:gd name="T25" fmla="*/ 247 h 362"/>
                    <a:gd name="T26" fmla="*/ 7 w 392"/>
                    <a:gd name="T27" fmla="*/ 251 h 362"/>
                    <a:gd name="T28" fmla="*/ 13 w 392"/>
                    <a:gd name="T29" fmla="*/ 254 h 362"/>
                    <a:gd name="T30" fmla="*/ 16 w 392"/>
                    <a:gd name="T31" fmla="*/ 256 h 362"/>
                    <a:gd name="T32" fmla="*/ 24 w 392"/>
                    <a:gd name="T33" fmla="*/ 256 h 362"/>
                    <a:gd name="T34" fmla="*/ 159 w 392"/>
                    <a:gd name="T35" fmla="*/ 245 h 362"/>
                    <a:gd name="T36" fmla="*/ 159 w 392"/>
                    <a:gd name="T37" fmla="*/ 245 h 362"/>
                    <a:gd name="T38" fmla="*/ 164 w 392"/>
                    <a:gd name="T39" fmla="*/ 245 h 362"/>
                    <a:gd name="T40" fmla="*/ 168 w 392"/>
                    <a:gd name="T41" fmla="*/ 247 h 362"/>
                    <a:gd name="T42" fmla="*/ 173 w 392"/>
                    <a:gd name="T43" fmla="*/ 249 h 362"/>
                    <a:gd name="T44" fmla="*/ 177 w 392"/>
                    <a:gd name="T45" fmla="*/ 252 h 362"/>
                    <a:gd name="T46" fmla="*/ 265 w 392"/>
                    <a:gd name="T47" fmla="*/ 355 h 362"/>
                    <a:gd name="T48" fmla="*/ 265 w 392"/>
                    <a:gd name="T49" fmla="*/ 355 h 362"/>
                    <a:gd name="T50" fmla="*/ 270 w 392"/>
                    <a:gd name="T51" fmla="*/ 359 h 362"/>
                    <a:gd name="T52" fmla="*/ 274 w 392"/>
                    <a:gd name="T53" fmla="*/ 362 h 362"/>
                    <a:gd name="T54" fmla="*/ 279 w 392"/>
                    <a:gd name="T55" fmla="*/ 362 h 362"/>
                    <a:gd name="T56" fmla="*/ 285 w 392"/>
                    <a:gd name="T57" fmla="*/ 362 h 362"/>
                    <a:gd name="T58" fmla="*/ 290 w 392"/>
                    <a:gd name="T59" fmla="*/ 362 h 362"/>
                    <a:gd name="T60" fmla="*/ 294 w 392"/>
                    <a:gd name="T61" fmla="*/ 359 h 362"/>
                    <a:gd name="T62" fmla="*/ 299 w 392"/>
                    <a:gd name="T63" fmla="*/ 355 h 362"/>
                    <a:gd name="T64" fmla="*/ 301 w 392"/>
                    <a:gd name="T65" fmla="*/ 350 h 362"/>
                    <a:gd name="T66" fmla="*/ 392 w 392"/>
                    <a:gd name="T67" fmla="*/ 126 h 362"/>
                    <a:gd name="T68" fmla="*/ 392 w 392"/>
                    <a:gd name="T69" fmla="*/ 126 h 362"/>
                    <a:gd name="T70" fmla="*/ 382 w 392"/>
                    <a:gd name="T71" fmla="*/ 121 h 362"/>
                    <a:gd name="T72" fmla="*/ 373 w 392"/>
                    <a:gd name="T73" fmla="*/ 116 h 362"/>
                    <a:gd name="T74" fmla="*/ 364 w 392"/>
                    <a:gd name="T75" fmla="*/ 110 h 362"/>
                    <a:gd name="T76" fmla="*/ 355 w 392"/>
                    <a:gd name="T77" fmla="*/ 103 h 362"/>
                    <a:gd name="T78" fmla="*/ 272 w 392"/>
                    <a:gd name="T79" fmla="*/ 1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2" h="362">
                      <a:moveTo>
                        <a:pt x="272" y="18"/>
                      </a:moveTo>
                      <a:lnTo>
                        <a:pt x="151" y="18"/>
                      </a:lnTo>
                      <a:lnTo>
                        <a:pt x="151" y="18"/>
                      </a:lnTo>
                      <a:lnTo>
                        <a:pt x="135" y="17"/>
                      </a:lnTo>
                      <a:lnTo>
                        <a:pt x="121" y="13"/>
                      </a:lnTo>
                      <a:lnTo>
                        <a:pt x="106" y="8"/>
                      </a:lnTo>
                      <a:lnTo>
                        <a:pt x="94" y="0"/>
                      </a:lnTo>
                      <a:lnTo>
                        <a:pt x="2" y="225"/>
                      </a:lnTo>
                      <a:lnTo>
                        <a:pt x="2" y="225"/>
                      </a:lnTo>
                      <a:lnTo>
                        <a:pt x="0" y="233"/>
                      </a:lnTo>
                      <a:lnTo>
                        <a:pt x="0" y="238"/>
                      </a:lnTo>
                      <a:lnTo>
                        <a:pt x="2" y="242"/>
                      </a:lnTo>
                      <a:lnTo>
                        <a:pt x="4" y="247"/>
                      </a:lnTo>
                      <a:lnTo>
                        <a:pt x="7" y="251"/>
                      </a:lnTo>
                      <a:lnTo>
                        <a:pt x="13" y="254"/>
                      </a:lnTo>
                      <a:lnTo>
                        <a:pt x="16" y="256"/>
                      </a:lnTo>
                      <a:lnTo>
                        <a:pt x="24" y="256"/>
                      </a:lnTo>
                      <a:lnTo>
                        <a:pt x="159" y="245"/>
                      </a:lnTo>
                      <a:lnTo>
                        <a:pt x="159" y="245"/>
                      </a:lnTo>
                      <a:lnTo>
                        <a:pt x="164" y="245"/>
                      </a:lnTo>
                      <a:lnTo>
                        <a:pt x="168" y="247"/>
                      </a:lnTo>
                      <a:lnTo>
                        <a:pt x="173" y="249"/>
                      </a:lnTo>
                      <a:lnTo>
                        <a:pt x="177" y="252"/>
                      </a:lnTo>
                      <a:lnTo>
                        <a:pt x="265" y="355"/>
                      </a:lnTo>
                      <a:lnTo>
                        <a:pt x="265" y="355"/>
                      </a:lnTo>
                      <a:lnTo>
                        <a:pt x="270" y="359"/>
                      </a:lnTo>
                      <a:lnTo>
                        <a:pt x="274" y="362"/>
                      </a:lnTo>
                      <a:lnTo>
                        <a:pt x="279" y="362"/>
                      </a:lnTo>
                      <a:lnTo>
                        <a:pt x="285" y="362"/>
                      </a:lnTo>
                      <a:lnTo>
                        <a:pt x="290" y="362"/>
                      </a:lnTo>
                      <a:lnTo>
                        <a:pt x="294" y="359"/>
                      </a:lnTo>
                      <a:lnTo>
                        <a:pt x="299" y="355"/>
                      </a:lnTo>
                      <a:lnTo>
                        <a:pt x="301" y="350"/>
                      </a:lnTo>
                      <a:lnTo>
                        <a:pt x="392" y="126"/>
                      </a:lnTo>
                      <a:lnTo>
                        <a:pt x="392" y="126"/>
                      </a:lnTo>
                      <a:lnTo>
                        <a:pt x="382" y="121"/>
                      </a:lnTo>
                      <a:lnTo>
                        <a:pt x="373" y="116"/>
                      </a:lnTo>
                      <a:lnTo>
                        <a:pt x="364" y="110"/>
                      </a:lnTo>
                      <a:lnTo>
                        <a:pt x="355" y="103"/>
                      </a:lnTo>
                      <a:lnTo>
                        <a:pt x="272" y="1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9" name="Freeform 19"/>
                <p:cNvSpPr/>
                <p:nvPr/>
              </p:nvSpPr>
              <p:spPr bwMode="auto">
                <a:xfrm>
                  <a:off x="5492750" y="5988051"/>
                  <a:ext cx="311150" cy="287338"/>
                </a:xfrm>
                <a:custGeom>
                  <a:avLst/>
                  <a:gdLst>
                    <a:gd name="T0" fmla="*/ 299 w 392"/>
                    <a:gd name="T1" fmla="*/ 0 h 362"/>
                    <a:gd name="T2" fmla="*/ 299 w 392"/>
                    <a:gd name="T3" fmla="*/ 0 h 362"/>
                    <a:gd name="T4" fmla="*/ 284 w 392"/>
                    <a:gd name="T5" fmla="*/ 8 h 362"/>
                    <a:gd name="T6" fmla="*/ 270 w 392"/>
                    <a:gd name="T7" fmla="*/ 13 h 362"/>
                    <a:gd name="T8" fmla="*/ 256 w 392"/>
                    <a:gd name="T9" fmla="*/ 17 h 362"/>
                    <a:gd name="T10" fmla="*/ 239 w 392"/>
                    <a:gd name="T11" fmla="*/ 18 h 362"/>
                    <a:gd name="T12" fmla="*/ 121 w 392"/>
                    <a:gd name="T13" fmla="*/ 18 h 362"/>
                    <a:gd name="T14" fmla="*/ 36 w 392"/>
                    <a:gd name="T15" fmla="*/ 103 h 362"/>
                    <a:gd name="T16" fmla="*/ 36 w 392"/>
                    <a:gd name="T17" fmla="*/ 103 h 362"/>
                    <a:gd name="T18" fmla="*/ 27 w 392"/>
                    <a:gd name="T19" fmla="*/ 110 h 362"/>
                    <a:gd name="T20" fmla="*/ 18 w 392"/>
                    <a:gd name="T21" fmla="*/ 116 h 362"/>
                    <a:gd name="T22" fmla="*/ 9 w 392"/>
                    <a:gd name="T23" fmla="*/ 121 h 362"/>
                    <a:gd name="T24" fmla="*/ 0 w 392"/>
                    <a:gd name="T25" fmla="*/ 126 h 362"/>
                    <a:gd name="T26" fmla="*/ 90 w 392"/>
                    <a:gd name="T27" fmla="*/ 350 h 362"/>
                    <a:gd name="T28" fmla="*/ 90 w 392"/>
                    <a:gd name="T29" fmla="*/ 350 h 362"/>
                    <a:gd name="T30" fmla="*/ 94 w 392"/>
                    <a:gd name="T31" fmla="*/ 355 h 362"/>
                    <a:gd name="T32" fmla="*/ 97 w 392"/>
                    <a:gd name="T33" fmla="*/ 359 h 362"/>
                    <a:gd name="T34" fmla="*/ 101 w 392"/>
                    <a:gd name="T35" fmla="*/ 362 h 362"/>
                    <a:gd name="T36" fmla="*/ 106 w 392"/>
                    <a:gd name="T37" fmla="*/ 362 h 362"/>
                    <a:gd name="T38" fmla="*/ 112 w 392"/>
                    <a:gd name="T39" fmla="*/ 362 h 362"/>
                    <a:gd name="T40" fmla="*/ 117 w 392"/>
                    <a:gd name="T41" fmla="*/ 362 h 362"/>
                    <a:gd name="T42" fmla="*/ 122 w 392"/>
                    <a:gd name="T43" fmla="*/ 359 h 362"/>
                    <a:gd name="T44" fmla="*/ 126 w 392"/>
                    <a:gd name="T45" fmla="*/ 355 h 362"/>
                    <a:gd name="T46" fmla="*/ 216 w 392"/>
                    <a:gd name="T47" fmla="*/ 252 h 362"/>
                    <a:gd name="T48" fmla="*/ 216 w 392"/>
                    <a:gd name="T49" fmla="*/ 252 h 362"/>
                    <a:gd name="T50" fmla="*/ 220 w 392"/>
                    <a:gd name="T51" fmla="*/ 249 h 362"/>
                    <a:gd name="T52" fmla="*/ 223 w 392"/>
                    <a:gd name="T53" fmla="*/ 247 h 362"/>
                    <a:gd name="T54" fmla="*/ 229 w 392"/>
                    <a:gd name="T55" fmla="*/ 245 h 362"/>
                    <a:gd name="T56" fmla="*/ 232 w 392"/>
                    <a:gd name="T57" fmla="*/ 245 h 362"/>
                    <a:gd name="T58" fmla="*/ 369 w 392"/>
                    <a:gd name="T59" fmla="*/ 256 h 362"/>
                    <a:gd name="T60" fmla="*/ 369 w 392"/>
                    <a:gd name="T61" fmla="*/ 256 h 362"/>
                    <a:gd name="T62" fmla="*/ 374 w 392"/>
                    <a:gd name="T63" fmla="*/ 256 h 362"/>
                    <a:gd name="T64" fmla="*/ 380 w 392"/>
                    <a:gd name="T65" fmla="*/ 254 h 362"/>
                    <a:gd name="T66" fmla="*/ 383 w 392"/>
                    <a:gd name="T67" fmla="*/ 251 h 362"/>
                    <a:gd name="T68" fmla="*/ 387 w 392"/>
                    <a:gd name="T69" fmla="*/ 247 h 362"/>
                    <a:gd name="T70" fmla="*/ 391 w 392"/>
                    <a:gd name="T71" fmla="*/ 242 h 362"/>
                    <a:gd name="T72" fmla="*/ 391 w 392"/>
                    <a:gd name="T73" fmla="*/ 238 h 362"/>
                    <a:gd name="T74" fmla="*/ 392 w 392"/>
                    <a:gd name="T75" fmla="*/ 233 h 362"/>
                    <a:gd name="T76" fmla="*/ 391 w 392"/>
                    <a:gd name="T77" fmla="*/ 225 h 362"/>
                    <a:gd name="T78" fmla="*/ 299 w 392"/>
                    <a:gd name="T79"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2" h="362">
                      <a:moveTo>
                        <a:pt x="299" y="0"/>
                      </a:moveTo>
                      <a:lnTo>
                        <a:pt x="299" y="0"/>
                      </a:lnTo>
                      <a:lnTo>
                        <a:pt x="284" y="8"/>
                      </a:lnTo>
                      <a:lnTo>
                        <a:pt x="270" y="13"/>
                      </a:lnTo>
                      <a:lnTo>
                        <a:pt x="256" y="17"/>
                      </a:lnTo>
                      <a:lnTo>
                        <a:pt x="239" y="18"/>
                      </a:lnTo>
                      <a:lnTo>
                        <a:pt x="121" y="18"/>
                      </a:lnTo>
                      <a:lnTo>
                        <a:pt x="36" y="103"/>
                      </a:lnTo>
                      <a:lnTo>
                        <a:pt x="36" y="103"/>
                      </a:lnTo>
                      <a:lnTo>
                        <a:pt x="27" y="110"/>
                      </a:lnTo>
                      <a:lnTo>
                        <a:pt x="18" y="116"/>
                      </a:lnTo>
                      <a:lnTo>
                        <a:pt x="9" y="121"/>
                      </a:lnTo>
                      <a:lnTo>
                        <a:pt x="0" y="126"/>
                      </a:lnTo>
                      <a:lnTo>
                        <a:pt x="90" y="350"/>
                      </a:lnTo>
                      <a:lnTo>
                        <a:pt x="90" y="350"/>
                      </a:lnTo>
                      <a:lnTo>
                        <a:pt x="94" y="355"/>
                      </a:lnTo>
                      <a:lnTo>
                        <a:pt x="97" y="359"/>
                      </a:lnTo>
                      <a:lnTo>
                        <a:pt x="101" y="362"/>
                      </a:lnTo>
                      <a:lnTo>
                        <a:pt x="106" y="362"/>
                      </a:lnTo>
                      <a:lnTo>
                        <a:pt x="112" y="362"/>
                      </a:lnTo>
                      <a:lnTo>
                        <a:pt x="117" y="362"/>
                      </a:lnTo>
                      <a:lnTo>
                        <a:pt x="122" y="359"/>
                      </a:lnTo>
                      <a:lnTo>
                        <a:pt x="126" y="355"/>
                      </a:lnTo>
                      <a:lnTo>
                        <a:pt x="216" y="252"/>
                      </a:lnTo>
                      <a:lnTo>
                        <a:pt x="216" y="252"/>
                      </a:lnTo>
                      <a:lnTo>
                        <a:pt x="220" y="249"/>
                      </a:lnTo>
                      <a:lnTo>
                        <a:pt x="223" y="247"/>
                      </a:lnTo>
                      <a:lnTo>
                        <a:pt x="229" y="245"/>
                      </a:lnTo>
                      <a:lnTo>
                        <a:pt x="232" y="245"/>
                      </a:lnTo>
                      <a:lnTo>
                        <a:pt x="369" y="256"/>
                      </a:lnTo>
                      <a:lnTo>
                        <a:pt x="369" y="256"/>
                      </a:lnTo>
                      <a:lnTo>
                        <a:pt x="374" y="256"/>
                      </a:lnTo>
                      <a:lnTo>
                        <a:pt x="380" y="254"/>
                      </a:lnTo>
                      <a:lnTo>
                        <a:pt x="383" y="251"/>
                      </a:lnTo>
                      <a:lnTo>
                        <a:pt x="387" y="247"/>
                      </a:lnTo>
                      <a:lnTo>
                        <a:pt x="391" y="242"/>
                      </a:lnTo>
                      <a:lnTo>
                        <a:pt x="391" y="238"/>
                      </a:lnTo>
                      <a:lnTo>
                        <a:pt x="392" y="233"/>
                      </a:lnTo>
                      <a:lnTo>
                        <a:pt x="391" y="225"/>
                      </a:lnTo>
                      <a:lnTo>
                        <a:pt x="29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0" name="Freeform 20"/>
                <p:cNvSpPr>
                  <a:spLocks noEditPoints="1"/>
                </p:cNvSpPr>
                <p:nvPr/>
              </p:nvSpPr>
              <p:spPr bwMode="auto">
                <a:xfrm>
                  <a:off x="5114925" y="5351463"/>
                  <a:ext cx="695325" cy="693738"/>
                </a:xfrm>
                <a:custGeom>
                  <a:avLst/>
                  <a:gdLst>
                    <a:gd name="T0" fmla="*/ 723 w 875"/>
                    <a:gd name="T1" fmla="*/ 759 h 874"/>
                    <a:gd name="T2" fmla="*/ 752 w 875"/>
                    <a:gd name="T3" fmla="*/ 739 h 874"/>
                    <a:gd name="T4" fmla="*/ 759 w 875"/>
                    <a:gd name="T5" fmla="*/ 588 h 874"/>
                    <a:gd name="T6" fmla="*/ 767 w 875"/>
                    <a:gd name="T7" fmla="*/ 565 h 874"/>
                    <a:gd name="T8" fmla="*/ 867 w 875"/>
                    <a:gd name="T9" fmla="*/ 462 h 874"/>
                    <a:gd name="T10" fmla="*/ 873 w 875"/>
                    <a:gd name="T11" fmla="*/ 428 h 874"/>
                    <a:gd name="T12" fmla="*/ 772 w 875"/>
                    <a:gd name="T13" fmla="*/ 317 h 874"/>
                    <a:gd name="T14" fmla="*/ 759 w 875"/>
                    <a:gd name="T15" fmla="*/ 295 h 874"/>
                    <a:gd name="T16" fmla="*/ 758 w 875"/>
                    <a:gd name="T17" fmla="*/ 151 h 874"/>
                    <a:gd name="T18" fmla="*/ 740 w 875"/>
                    <a:gd name="T19" fmla="*/ 122 h 874"/>
                    <a:gd name="T20" fmla="*/ 588 w 875"/>
                    <a:gd name="T21" fmla="*/ 115 h 874"/>
                    <a:gd name="T22" fmla="*/ 563 w 875"/>
                    <a:gd name="T23" fmla="*/ 108 h 874"/>
                    <a:gd name="T24" fmla="*/ 461 w 875"/>
                    <a:gd name="T25" fmla="*/ 7 h 874"/>
                    <a:gd name="T26" fmla="*/ 428 w 875"/>
                    <a:gd name="T27" fmla="*/ 0 h 874"/>
                    <a:gd name="T28" fmla="*/ 317 w 875"/>
                    <a:gd name="T29" fmla="*/ 102 h 874"/>
                    <a:gd name="T30" fmla="*/ 293 w 875"/>
                    <a:gd name="T31" fmla="*/ 115 h 874"/>
                    <a:gd name="T32" fmla="*/ 149 w 875"/>
                    <a:gd name="T33" fmla="*/ 117 h 874"/>
                    <a:gd name="T34" fmla="*/ 122 w 875"/>
                    <a:gd name="T35" fmla="*/ 135 h 874"/>
                    <a:gd name="T36" fmla="*/ 115 w 875"/>
                    <a:gd name="T37" fmla="*/ 286 h 874"/>
                    <a:gd name="T38" fmla="*/ 108 w 875"/>
                    <a:gd name="T39" fmla="*/ 309 h 874"/>
                    <a:gd name="T40" fmla="*/ 7 w 875"/>
                    <a:gd name="T41" fmla="*/ 414 h 874"/>
                    <a:gd name="T42" fmla="*/ 0 w 875"/>
                    <a:gd name="T43" fmla="*/ 446 h 874"/>
                    <a:gd name="T44" fmla="*/ 101 w 875"/>
                    <a:gd name="T45" fmla="*/ 558 h 874"/>
                    <a:gd name="T46" fmla="*/ 113 w 875"/>
                    <a:gd name="T47" fmla="*/ 581 h 874"/>
                    <a:gd name="T48" fmla="*/ 115 w 875"/>
                    <a:gd name="T49" fmla="*/ 723 h 874"/>
                    <a:gd name="T50" fmla="*/ 133 w 875"/>
                    <a:gd name="T51" fmla="*/ 752 h 874"/>
                    <a:gd name="T52" fmla="*/ 284 w 875"/>
                    <a:gd name="T53" fmla="*/ 759 h 874"/>
                    <a:gd name="T54" fmla="*/ 310 w 875"/>
                    <a:gd name="T55" fmla="*/ 766 h 874"/>
                    <a:gd name="T56" fmla="*/ 412 w 875"/>
                    <a:gd name="T57" fmla="*/ 867 h 874"/>
                    <a:gd name="T58" fmla="*/ 444 w 875"/>
                    <a:gd name="T59" fmla="*/ 874 h 874"/>
                    <a:gd name="T60" fmla="*/ 558 w 875"/>
                    <a:gd name="T61" fmla="*/ 772 h 874"/>
                    <a:gd name="T62" fmla="*/ 579 w 875"/>
                    <a:gd name="T63" fmla="*/ 761 h 874"/>
                    <a:gd name="T64" fmla="*/ 437 w 875"/>
                    <a:gd name="T65" fmla="*/ 675 h 874"/>
                    <a:gd name="T66" fmla="*/ 344 w 875"/>
                    <a:gd name="T67" fmla="*/ 657 h 874"/>
                    <a:gd name="T68" fmla="*/ 268 w 875"/>
                    <a:gd name="T69" fmla="*/ 605 h 874"/>
                    <a:gd name="T70" fmla="*/ 218 w 875"/>
                    <a:gd name="T71" fmla="*/ 529 h 874"/>
                    <a:gd name="T72" fmla="*/ 200 w 875"/>
                    <a:gd name="T73" fmla="*/ 437 h 874"/>
                    <a:gd name="T74" fmla="*/ 211 w 875"/>
                    <a:gd name="T75" fmla="*/ 367 h 874"/>
                    <a:gd name="T76" fmla="*/ 254 w 875"/>
                    <a:gd name="T77" fmla="*/ 286 h 874"/>
                    <a:gd name="T78" fmla="*/ 324 w 875"/>
                    <a:gd name="T79" fmla="*/ 228 h 874"/>
                    <a:gd name="T80" fmla="*/ 412 w 875"/>
                    <a:gd name="T81" fmla="*/ 201 h 874"/>
                    <a:gd name="T82" fmla="*/ 484 w 875"/>
                    <a:gd name="T83" fmla="*/ 205 h 874"/>
                    <a:gd name="T84" fmla="*/ 570 w 875"/>
                    <a:gd name="T85" fmla="*/ 241 h 874"/>
                    <a:gd name="T86" fmla="*/ 633 w 875"/>
                    <a:gd name="T87" fmla="*/ 304 h 874"/>
                    <a:gd name="T88" fmla="*/ 669 w 875"/>
                    <a:gd name="T89" fmla="*/ 389 h 874"/>
                    <a:gd name="T90" fmla="*/ 673 w 875"/>
                    <a:gd name="T91" fmla="*/ 462 h 874"/>
                    <a:gd name="T92" fmla="*/ 646 w 875"/>
                    <a:gd name="T93" fmla="*/ 551 h 874"/>
                    <a:gd name="T94" fmla="*/ 588 w 875"/>
                    <a:gd name="T95" fmla="*/ 621 h 874"/>
                    <a:gd name="T96" fmla="*/ 507 w 875"/>
                    <a:gd name="T97" fmla="*/ 664 h 874"/>
                    <a:gd name="T98" fmla="*/ 437 w 875"/>
                    <a:gd name="T99" fmla="*/ 675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5" h="874">
                      <a:moveTo>
                        <a:pt x="588" y="759"/>
                      </a:moveTo>
                      <a:lnTo>
                        <a:pt x="714" y="759"/>
                      </a:lnTo>
                      <a:lnTo>
                        <a:pt x="714" y="759"/>
                      </a:lnTo>
                      <a:lnTo>
                        <a:pt x="723" y="759"/>
                      </a:lnTo>
                      <a:lnTo>
                        <a:pt x="732" y="756"/>
                      </a:lnTo>
                      <a:lnTo>
                        <a:pt x="740" y="752"/>
                      </a:lnTo>
                      <a:lnTo>
                        <a:pt x="747" y="747"/>
                      </a:lnTo>
                      <a:lnTo>
                        <a:pt x="752" y="739"/>
                      </a:lnTo>
                      <a:lnTo>
                        <a:pt x="756" y="732"/>
                      </a:lnTo>
                      <a:lnTo>
                        <a:pt x="758" y="723"/>
                      </a:lnTo>
                      <a:lnTo>
                        <a:pt x="759" y="716"/>
                      </a:lnTo>
                      <a:lnTo>
                        <a:pt x="759" y="588"/>
                      </a:lnTo>
                      <a:lnTo>
                        <a:pt x="759" y="588"/>
                      </a:lnTo>
                      <a:lnTo>
                        <a:pt x="759" y="581"/>
                      </a:lnTo>
                      <a:lnTo>
                        <a:pt x="763" y="572"/>
                      </a:lnTo>
                      <a:lnTo>
                        <a:pt x="767" y="565"/>
                      </a:lnTo>
                      <a:lnTo>
                        <a:pt x="772" y="558"/>
                      </a:lnTo>
                      <a:lnTo>
                        <a:pt x="862" y="468"/>
                      </a:lnTo>
                      <a:lnTo>
                        <a:pt x="862" y="468"/>
                      </a:lnTo>
                      <a:lnTo>
                        <a:pt x="867" y="462"/>
                      </a:lnTo>
                      <a:lnTo>
                        <a:pt x="871" y="453"/>
                      </a:lnTo>
                      <a:lnTo>
                        <a:pt x="873" y="446"/>
                      </a:lnTo>
                      <a:lnTo>
                        <a:pt x="875" y="437"/>
                      </a:lnTo>
                      <a:lnTo>
                        <a:pt x="873" y="428"/>
                      </a:lnTo>
                      <a:lnTo>
                        <a:pt x="871" y="421"/>
                      </a:lnTo>
                      <a:lnTo>
                        <a:pt x="867" y="414"/>
                      </a:lnTo>
                      <a:lnTo>
                        <a:pt x="862" y="407"/>
                      </a:lnTo>
                      <a:lnTo>
                        <a:pt x="772" y="317"/>
                      </a:lnTo>
                      <a:lnTo>
                        <a:pt x="772" y="317"/>
                      </a:lnTo>
                      <a:lnTo>
                        <a:pt x="767" y="309"/>
                      </a:lnTo>
                      <a:lnTo>
                        <a:pt x="763" y="302"/>
                      </a:lnTo>
                      <a:lnTo>
                        <a:pt x="759" y="295"/>
                      </a:lnTo>
                      <a:lnTo>
                        <a:pt x="759" y="286"/>
                      </a:lnTo>
                      <a:lnTo>
                        <a:pt x="759" y="160"/>
                      </a:lnTo>
                      <a:lnTo>
                        <a:pt x="759" y="160"/>
                      </a:lnTo>
                      <a:lnTo>
                        <a:pt x="758" y="151"/>
                      </a:lnTo>
                      <a:lnTo>
                        <a:pt x="756" y="142"/>
                      </a:lnTo>
                      <a:lnTo>
                        <a:pt x="752" y="135"/>
                      </a:lnTo>
                      <a:lnTo>
                        <a:pt x="747" y="128"/>
                      </a:lnTo>
                      <a:lnTo>
                        <a:pt x="740" y="122"/>
                      </a:lnTo>
                      <a:lnTo>
                        <a:pt x="732" y="119"/>
                      </a:lnTo>
                      <a:lnTo>
                        <a:pt x="723" y="117"/>
                      </a:lnTo>
                      <a:lnTo>
                        <a:pt x="714" y="115"/>
                      </a:lnTo>
                      <a:lnTo>
                        <a:pt x="588" y="115"/>
                      </a:lnTo>
                      <a:lnTo>
                        <a:pt x="588" y="115"/>
                      </a:lnTo>
                      <a:lnTo>
                        <a:pt x="579" y="115"/>
                      </a:lnTo>
                      <a:lnTo>
                        <a:pt x="572" y="111"/>
                      </a:lnTo>
                      <a:lnTo>
                        <a:pt x="563" y="108"/>
                      </a:lnTo>
                      <a:lnTo>
                        <a:pt x="558" y="102"/>
                      </a:lnTo>
                      <a:lnTo>
                        <a:pt x="468" y="12"/>
                      </a:lnTo>
                      <a:lnTo>
                        <a:pt x="468" y="12"/>
                      </a:lnTo>
                      <a:lnTo>
                        <a:pt x="461" y="7"/>
                      </a:lnTo>
                      <a:lnTo>
                        <a:pt x="453" y="3"/>
                      </a:lnTo>
                      <a:lnTo>
                        <a:pt x="444" y="0"/>
                      </a:lnTo>
                      <a:lnTo>
                        <a:pt x="437" y="0"/>
                      </a:lnTo>
                      <a:lnTo>
                        <a:pt x="428" y="0"/>
                      </a:lnTo>
                      <a:lnTo>
                        <a:pt x="419" y="3"/>
                      </a:lnTo>
                      <a:lnTo>
                        <a:pt x="412" y="7"/>
                      </a:lnTo>
                      <a:lnTo>
                        <a:pt x="405" y="12"/>
                      </a:lnTo>
                      <a:lnTo>
                        <a:pt x="317" y="102"/>
                      </a:lnTo>
                      <a:lnTo>
                        <a:pt x="317" y="102"/>
                      </a:lnTo>
                      <a:lnTo>
                        <a:pt x="310" y="108"/>
                      </a:lnTo>
                      <a:lnTo>
                        <a:pt x="302" y="111"/>
                      </a:lnTo>
                      <a:lnTo>
                        <a:pt x="293" y="115"/>
                      </a:lnTo>
                      <a:lnTo>
                        <a:pt x="284" y="115"/>
                      </a:lnTo>
                      <a:lnTo>
                        <a:pt x="158" y="115"/>
                      </a:lnTo>
                      <a:lnTo>
                        <a:pt x="158" y="115"/>
                      </a:lnTo>
                      <a:lnTo>
                        <a:pt x="149" y="117"/>
                      </a:lnTo>
                      <a:lnTo>
                        <a:pt x="142" y="119"/>
                      </a:lnTo>
                      <a:lnTo>
                        <a:pt x="133" y="122"/>
                      </a:lnTo>
                      <a:lnTo>
                        <a:pt x="128" y="128"/>
                      </a:lnTo>
                      <a:lnTo>
                        <a:pt x="122" y="135"/>
                      </a:lnTo>
                      <a:lnTo>
                        <a:pt x="119" y="142"/>
                      </a:lnTo>
                      <a:lnTo>
                        <a:pt x="115" y="151"/>
                      </a:lnTo>
                      <a:lnTo>
                        <a:pt x="115" y="160"/>
                      </a:lnTo>
                      <a:lnTo>
                        <a:pt x="115" y="286"/>
                      </a:lnTo>
                      <a:lnTo>
                        <a:pt x="115" y="286"/>
                      </a:lnTo>
                      <a:lnTo>
                        <a:pt x="113" y="295"/>
                      </a:lnTo>
                      <a:lnTo>
                        <a:pt x="112" y="302"/>
                      </a:lnTo>
                      <a:lnTo>
                        <a:pt x="108" y="309"/>
                      </a:lnTo>
                      <a:lnTo>
                        <a:pt x="101" y="317"/>
                      </a:lnTo>
                      <a:lnTo>
                        <a:pt x="13" y="407"/>
                      </a:lnTo>
                      <a:lnTo>
                        <a:pt x="13" y="407"/>
                      </a:lnTo>
                      <a:lnTo>
                        <a:pt x="7" y="414"/>
                      </a:lnTo>
                      <a:lnTo>
                        <a:pt x="2" y="421"/>
                      </a:lnTo>
                      <a:lnTo>
                        <a:pt x="0" y="428"/>
                      </a:lnTo>
                      <a:lnTo>
                        <a:pt x="0" y="437"/>
                      </a:lnTo>
                      <a:lnTo>
                        <a:pt x="0" y="446"/>
                      </a:lnTo>
                      <a:lnTo>
                        <a:pt x="2" y="453"/>
                      </a:lnTo>
                      <a:lnTo>
                        <a:pt x="7" y="462"/>
                      </a:lnTo>
                      <a:lnTo>
                        <a:pt x="13" y="468"/>
                      </a:lnTo>
                      <a:lnTo>
                        <a:pt x="101" y="558"/>
                      </a:lnTo>
                      <a:lnTo>
                        <a:pt x="101" y="558"/>
                      </a:lnTo>
                      <a:lnTo>
                        <a:pt x="108" y="565"/>
                      </a:lnTo>
                      <a:lnTo>
                        <a:pt x="112" y="572"/>
                      </a:lnTo>
                      <a:lnTo>
                        <a:pt x="113" y="581"/>
                      </a:lnTo>
                      <a:lnTo>
                        <a:pt x="115" y="588"/>
                      </a:lnTo>
                      <a:lnTo>
                        <a:pt x="115" y="716"/>
                      </a:lnTo>
                      <a:lnTo>
                        <a:pt x="115" y="716"/>
                      </a:lnTo>
                      <a:lnTo>
                        <a:pt x="115" y="723"/>
                      </a:lnTo>
                      <a:lnTo>
                        <a:pt x="119" y="732"/>
                      </a:lnTo>
                      <a:lnTo>
                        <a:pt x="122" y="739"/>
                      </a:lnTo>
                      <a:lnTo>
                        <a:pt x="128" y="747"/>
                      </a:lnTo>
                      <a:lnTo>
                        <a:pt x="133" y="752"/>
                      </a:lnTo>
                      <a:lnTo>
                        <a:pt x="142" y="756"/>
                      </a:lnTo>
                      <a:lnTo>
                        <a:pt x="149" y="759"/>
                      </a:lnTo>
                      <a:lnTo>
                        <a:pt x="158" y="759"/>
                      </a:lnTo>
                      <a:lnTo>
                        <a:pt x="284" y="759"/>
                      </a:lnTo>
                      <a:lnTo>
                        <a:pt x="284" y="759"/>
                      </a:lnTo>
                      <a:lnTo>
                        <a:pt x="293" y="761"/>
                      </a:lnTo>
                      <a:lnTo>
                        <a:pt x="302" y="763"/>
                      </a:lnTo>
                      <a:lnTo>
                        <a:pt x="310" y="766"/>
                      </a:lnTo>
                      <a:lnTo>
                        <a:pt x="317" y="772"/>
                      </a:lnTo>
                      <a:lnTo>
                        <a:pt x="405" y="862"/>
                      </a:lnTo>
                      <a:lnTo>
                        <a:pt x="405" y="862"/>
                      </a:lnTo>
                      <a:lnTo>
                        <a:pt x="412" y="867"/>
                      </a:lnTo>
                      <a:lnTo>
                        <a:pt x="419" y="871"/>
                      </a:lnTo>
                      <a:lnTo>
                        <a:pt x="428" y="874"/>
                      </a:lnTo>
                      <a:lnTo>
                        <a:pt x="437" y="874"/>
                      </a:lnTo>
                      <a:lnTo>
                        <a:pt x="444" y="874"/>
                      </a:lnTo>
                      <a:lnTo>
                        <a:pt x="453" y="871"/>
                      </a:lnTo>
                      <a:lnTo>
                        <a:pt x="461" y="867"/>
                      </a:lnTo>
                      <a:lnTo>
                        <a:pt x="468" y="862"/>
                      </a:lnTo>
                      <a:lnTo>
                        <a:pt x="558" y="772"/>
                      </a:lnTo>
                      <a:lnTo>
                        <a:pt x="558" y="772"/>
                      </a:lnTo>
                      <a:lnTo>
                        <a:pt x="563" y="766"/>
                      </a:lnTo>
                      <a:lnTo>
                        <a:pt x="572" y="763"/>
                      </a:lnTo>
                      <a:lnTo>
                        <a:pt x="579" y="761"/>
                      </a:lnTo>
                      <a:lnTo>
                        <a:pt x="588" y="759"/>
                      </a:lnTo>
                      <a:lnTo>
                        <a:pt x="588" y="759"/>
                      </a:lnTo>
                      <a:close/>
                      <a:moveTo>
                        <a:pt x="437" y="675"/>
                      </a:moveTo>
                      <a:lnTo>
                        <a:pt x="437" y="675"/>
                      </a:lnTo>
                      <a:lnTo>
                        <a:pt x="412" y="673"/>
                      </a:lnTo>
                      <a:lnTo>
                        <a:pt x="389" y="669"/>
                      </a:lnTo>
                      <a:lnTo>
                        <a:pt x="365" y="664"/>
                      </a:lnTo>
                      <a:lnTo>
                        <a:pt x="344" y="657"/>
                      </a:lnTo>
                      <a:lnTo>
                        <a:pt x="324" y="646"/>
                      </a:lnTo>
                      <a:lnTo>
                        <a:pt x="304" y="635"/>
                      </a:lnTo>
                      <a:lnTo>
                        <a:pt x="286" y="621"/>
                      </a:lnTo>
                      <a:lnTo>
                        <a:pt x="268" y="605"/>
                      </a:lnTo>
                      <a:lnTo>
                        <a:pt x="254" y="588"/>
                      </a:lnTo>
                      <a:lnTo>
                        <a:pt x="239" y="570"/>
                      </a:lnTo>
                      <a:lnTo>
                        <a:pt x="229" y="551"/>
                      </a:lnTo>
                      <a:lnTo>
                        <a:pt x="218" y="529"/>
                      </a:lnTo>
                      <a:lnTo>
                        <a:pt x="211" y="507"/>
                      </a:lnTo>
                      <a:lnTo>
                        <a:pt x="203" y="486"/>
                      </a:lnTo>
                      <a:lnTo>
                        <a:pt x="200" y="462"/>
                      </a:lnTo>
                      <a:lnTo>
                        <a:pt x="200" y="437"/>
                      </a:lnTo>
                      <a:lnTo>
                        <a:pt x="200" y="437"/>
                      </a:lnTo>
                      <a:lnTo>
                        <a:pt x="200" y="414"/>
                      </a:lnTo>
                      <a:lnTo>
                        <a:pt x="203" y="389"/>
                      </a:lnTo>
                      <a:lnTo>
                        <a:pt x="211" y="367"/>
                      </a:lnTo>
                      <a:lnTo>
                        <a:pt x="218" y="345"/>
                      </a:lnTo>
                      <a:lnTo>
                        <a:pt x="229" y="324"/>
                      </a:lnTo>
                      <a:lnTo>
                        <a:pt x="239" y="304"/>
                      </a:lnTo>
                      <a:lnTo>
                        <a:pt x="254" y="286"/>
                      </a:lnTo>
                      <a:lnTo>
                        <a:pt x="268" y="270"/>
                      </a:lnTo>
                      <a:lnTo>
                        <a:pt x="286" y="254"/>
                      </a:lnTo>
                      <a:lnTo>
                        <a:pt x="304" y="241"/>
                      </a:lnTo>
                      <a:lnTo>
                        <a:pt x="324" y="228"/>
                      </a:lnTo>
                      <a:lnTo>
                        <a:pt x="344" y="218"/>
                      </a:lnTo>
                      <a:lnTo>
                        <a:pt x="365" y="210"/>
                      </a:lnTo>
                      <a:lnTo>
                        <a:pt x="389" y="205"/>
                      </a:lnTo>
                      <a:lnTo>
                        <a:pt x="412" y="201"/>
                      </a:lnTo>
                      <a:lnTo>
                        <a:pt x="437" y="200"/>
                      </a:lnTo>
                      <a:lnTo>
                        <a:pt x="437" y="200"/>
                      </a:lnTo>
                      <a:lnTo>
                        <a:pt x="461" y="201"/>
                      </a:lnTo>
                      <a:lnTo>
                        <a:pt x="484" y="205"/>
                      </a:lnTo>
                      <a:lnTo>
                        <a:pt x="507" y="210"/>
                      </a:lnTo>
                      <a:lnTo>
                        <a:pt x="529" y="218"/>
                      </a:lnTo>
                      <a:lnTo>
                        <a:pt x="551" y="228"/>
                      </a:lnTo>
                      <a:lnTo>
                        <a:pt x="570" y="241"/>
                      </a:lnTo>
                      <a:lnTo>
                        <a:pt x="588" y="254"/>
                      </a:lnTo>
                      <a:lnTo>
                        <a:pt x="605" y="270"/>
                      </a:lnTo>
                      <a:lnTo>
                        <a:pt x="621" y="286"/>
                      </a:lnTo>
                      <a:lnTo>
                        <a:pt x="633" y="304"/>
                      </a:lnTo>
                      <a:lnTo>
                        <a:pt x="646" y="324"/>
                      </a:lnTo>
                      <a:lnTo>
                        <a:pt x="655" y="345"/>
                      </a:lnTo>
                      <a:lnTo>
                        <a:pt x="664" y="367"/>
                      </a:lnTo>
                      <a:lnTo>
                        <a:pt x="669" y="389"/>
                      </a:lnTo>
                      <a:lnTo>
                        <a:pt x="673" y="414"/>
                      </a:lnTo>
                      <a:lnTo>
                        <a:pt x="675" y="437"/>
                      </a:lnTo>
                      <a:lnTo>
                        <a:pt x="675" y="437"/>
                      </a:lnTo>
                      <a:lnTo>
                        <a:pt x="673" y="462"/>
                      </a:lnTo>
                      <a:lnTo>
                        <a:pt x="669" y="486"/>
                      </a:lnTo>
                      <a:lnTo>
                        <a:pt x="664" y="507"/>
                      </a:lnTo>
                      <a:lnTo>
                        <a:pt x="655" y="529"/>
                      </a:lnTo>
                      <a:lnTo>
                        <a:pt x="646" y="551"/>
                      </a:lnTo>
                      <a:lnTo>
                        <a:pt x="633" y="570"/>
                      </a:lnTo>
                      <a:lnTo>
                        <a:pt x="621" y="588"/>
                      </a:lnTo>
                      <a:lnTo>
                        <a:pt x="605" y="605"/>
                      </a:lnTo>
                      <a:lnTo>
                        <a:pt x="588" y="621"/>
                      </a:lnTo>
                      <a:lnTo>
                        <a:pt x="570" y="635"/>
                      </a:lnTo>
                      <a:lnTo>
                        <a:pt x="551" y="646"/>
                      </a:lnTo>
                      <a:lnTo>
                        <a:pt x="529" y="657"/>
                      </a:lnTo>
                      <a:lnTo>
                        <a:pt x="507" y="664"/>
                      </a:lnTo>
                      <a:lnTo>
                        <a:pt x="484" y="669"/>
                      </a:lnTo>
                      <a:lnTo>
                        <a:pt x="461" y="673"/>
                      </a:lnTo>
                      <a:lnTo>
                        <a:pt x="437" y="675"/>
                      </a:lnTo>
                      <a:lnTo>
                        <a:pt x="437" y="67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1" name="Freeform 21"/>
                <p:cNvSpPr/>
                <p:nvPr/>
              </p:nvSpPr>
              <p:spPr bwMode="auto">
                <a:xfrm>
                  <a:off x="5395913" y="5562601"/>
                  <a:ext cx="103188" cy="284163"/>
                </a:xfrm>
                <a:custGeom>
                  <a:avLst/>
                  <a:gdLst>
                    <a:gd name="T0" fmla="*/ 16 w 129"/>
                    <a:gd name="T1" fmla="*/ 45 h 358"/>
                    <a:gd name="T2" fmla="*/ 16 w 129"/>
                    <a:gd name="T3" fmla="*/ 45 h 358"/>
                    <a:gd name="T4" fmla="*/ 0 w 129"/>
                    <a:gd name="T5" fmla="*/ 49 h 358"/>
                    <a:gd name="T6" fmla="*/ 0 w 129"/>
                    <a:gd name="T7" fmla="*/ 121 h 358"/>
                    <a:gd name="T8" fmla="*/ 0 w 129"/>
                    <a:gd name="T9" fmla="*/ 121 h 358"/>
                    <a:gd name="T10" fmla="*/ 27 w 129"/>
                    <a:gd name="T11" fmla="*/ 110 h 358"/>
                    <a:gd name="T12" fmla="*/ 54 w 129"/>
                    <a:gd name="T13" fmla="*/ 96 h 358"/>
                    <a:gd name="T14" fmla="*/ 54 w 129"/>
                    <a:gd name="T15" fmla="*/ 358 h 358"/>
                    <a:gd name="T16" fmla="*/ 129 w 129"/>
                    <a:gd name="T17" fmla="*/ 358 h 358"/>
                    <a:gd name="T18" fmla="*/ 129 w 129"/>
                    <a:gd name="T19" fmla="*/ 0 h 358"/>
                    <a:gd name="T20" fmla="*/ 64 w 129"/>
                    <a:gd name="T21" fmla="*/ 0 h 358"/>
                    <a:gd name="T22" fmla="*/ 64 w 129"/>
                    <a:gd name="T23" fmla="*/ 0 h 358"/>
                    <a:gd name="T24" fmla="*/ 59 w 129"/>
                    <a:gd name="T25" fmla="*/ 11 h 358"/>
                    <a:gd name="T26" fmla="*/ 50 w 129"/>
                    <a:gd name="T27" fmla="*/ 24 h 358"/>
                    <a:gd name="T28" fmla="*/ 45 w 129"/>
                    <a:gd name="T29" fmla="*/ 29 h 358"/>
                    <a:gd name="T30" fmla="*/ 36 w 129"/>
                    <a:gd name="T31" fmla="*/ 34 h 358"/>
                    <a:gd name="T32" fmla="*/ 27 w 129"/>
                    <a:gd name="T33" fmla="*/ 40 h 358"/>
                    <a:gd name="T34" fmla="*/ 16 w 129"/>
                    <a:gd name="T35" fmla="*/ 45 h 358"/>
                    <a:gd name="T36" fmla="*/ 16 w 129"/>
                    <a:gd name="T37" fmla="*/ 4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9" h="358">
                      <a:moveTo>
                        <a:pt x="16" y="45"/>
                      </a:moveTo>
                      <a:lnTo>
                        <a:pt x="16" y="45"/>
                      </a:lnTo>
                      <a:lnTo>
                        <a:pt x="0" y="49"/>
                      </a:lnTo>
                      <a:lnTo>
                        <a:pt x="0" y="121"/>
                      </a:lnTo>
                      <a:lnTo>
                        <a:pt x="0" y="121"/>
                      </a:lnTo>
                      <a:lnTo>
                        <a:pt x="27" y="110"/>
                      </a:lnTo>
                      <a:lnTo>
                        <a:pt x="54" y="96"/>
                      </a:lnTo>
                      <a:lnTo>
                        <a:pt x="54" y="358"/>
                      </a:lnTo>
                      <a:lnTo>
                        <a:pt x="129" y="358"/>
                      </a:lnTo>
                      <a:lnTo>
                        <a:pt x="129" y="0"/>
                      </a:lnTo>
                      <a:lnTo>
                        <a:pt x="64" y="0"/>
                      </a:lnTo>
                      <a:lnTo>
                        <a:pt x="64" y="0"/>
                      </a:lnTo>
                      <a:lnTo>
                        <a:pt x="59" y="11"/>
                      </a:lnTo>
                      <a:lnTo>
                        <a:pt x="50" y="24"/>
                      </a:lnTo>
                      <a:lnTo>
                        <a:pt x="45" y="29"/>
                      </a:lnTo>
                      <a:lnTo>
                        <a:pt x="36" y="34"/>
                      </a:lnTo>
                      <a:lnTo>
                        <a:pt x="27" y="40"/>
                      </a:lnTo>
                      <a:lnTo>
                        <a:pt x="16" y="45"/>
                      </a:lnTo>
                      <a:lnTo>
                        <a:pt x="16" y="4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grpSp>
          <p:nvGrpSpPr>
            <p:cNvPr id="82" name="组合 81"/>
            <p:cNvGrpSpPr/>
            <p:nvPr/>
          </p:nvGrpSpPr>
          <p:grpSpPr>
            <a:xfrm>
              <a:off x="15773" y="3531"/>
              <a:ext cx="946" cy="946"/>
              <a:chOff x="6364141" y="1104393"/>
              <a:chExt cx="720000" cy="720000"/>
            </a:xfrm>
          </p:grpSpPr>
          <p:sp>
            <p:nvSpPr>
              <p:cNvPr id="83" name="椭圆 82"/>
              <p:cNvSpPr/>
              <p:nvPr/>
            </p:nvSpPr>
            <p:spPr>
              <a:xfrm>
                <a:off x="6364141" y="1104393"/>
                <a:ext cx="720000" cy="720000"/>
              </a:xfrm>
              <a:prstGeom prst="ellipse">
                <a:avLst/>
              </a:prstGeom>
              <a:solidFill>
                <a:srgbClr val="0067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84" name="组合 83"/>
              <p:cNvGrpSpPr/>
              <p:nvPr/>
            </p:nvGrpSpPr>
            <p:grpSpPr>
              <a:xfrm>
                <a:off x="6491879" y="1235693"/>
                <a:ext cx="418804" cy="426920"/>
                <a:chOff x="4570413" y="6557963"/>
                <a:chExt cx="819150" cy="835025"/>
              </a:xfrm>
              <a:solidFill>
                <a:schemeClr val="bg1"/>
              </a:solidFill>
            </p:grpSpPr>
            <p:sp>
              <p:nvSpPr>
                <p:cNvPr id="85" name="Freeform 22"/>
                <p:cNvSpPr>
                  <a:spLocks noEditPoints="1"/>
                </p:cNvSpPr>
                <p:nvPr/>
              </p:nvSpPr>
              <p:spPr bwMode="auto">
                <a:xfrm>
                  <a:off x="4570413" y="6557963"/>
                  <a:ext cx="582613" cy="717550"/>
                </a:xfrm>
                <a:custGeom>
                  <a:avLst/>
                  <a:gdLst>
                    <a:gd name="T0" fmla="*/ 251 w 735"/>
                    <a:gd name="T1" fmla="*/ 431 h 903"/>
                    <a:gd name="T2" fmla="*/ 272 w 735"/>
                    <a:gd name="T3" fmla="*/ 430 h 903"/>
                    <a:gd name="T4" fmla="*/ 308 w 735"/>
                    <a:gd name="T5" fmla="*/ 415 h 903"/>
                    <a:gd name="T6" fmla="*/ 337 w 735"/>
                    <a:gd name="T7" fmla="*/ 387 h 903"/>
                    <a:gd name="T8" fmla="*/ 351 w 735"/>
                    <a:gd name="T9" fmla="*/ 351 h 903"/>
                    <a:gd name="T10" fmla="*/ 355 w 735"/>
                    <a:gd name="T11" fmla="*/ 102 h 903"/>
                    <a:gd name="T12" fmla="*/ 355 w 735"/>
                    <a:gd name="T13" fmla="*/ 97 h 903"/>
                    <a:gd name="T14" fmla="*/ 360 w 735"/>
                    <a:gd name="T15" fmla="*/ 84 h 903"/>
                    <a:gd name="T16" fmla="*/ 369 w 735"/>
                    <a:gd name="T17" fmla="*/ 75 h 903"/>
                    <a:gd name="T18" fmla="*/ 380 w 735"/>
                    <a:gd name="T19" fmla="*/ 72 h 903"/>
                    <a:gd name="T20" fmla="*/ 634 w 735"/>
                    <a:gd name="T21" fmla="*/ 70 h 903"/>
                    <a:gd name="T22" fmla="*/ 643 w 735"/>
                    <a:gd name="T23" fmla="*/ 72 h 903"/>
                    <a:gd name="T24" fmla="*/ 657 w 735"/>
                    <a:gd name="T25" fmla="*/ 81 h 903"/>
                    <a:gd name="T26" fmla="*/ 661 w 735"/>
                    <a:gd name="T27" fmla="*/ 86 h 903"/>
                    <a:gd name="T28" fmla="*/ 735 w 735"/>
                    <a:gd name="T29" fmla="*/ 84 h 903"/>
                    <a:gd name="T30" fmla="*/ 731 w 735"/>
                    <a:gd name="T31" fmla="*/ 68 h 903"/>
                    <a:gd name="T32" fmla="*/ 713 w 735"/>
                    <a:gd name="T33" fmla="*/ 37 h 903"/>
                    <a:gd name="T34" fmla="*/ 686 w 735"/>
                    <a:gd name="T35" fmla="*/ 14 h 903"/>
                    <a:gd name="T36" fmla="*/ 652 w 735"/>
                    <a:gd name="T37" fmla="*/ 1 h 903"/>
                    <a:gd name="T38" fmla="*/ 387 w 735"/>
                    <a:gd name="T39" fmla="*/ 0 h 903"/>
                    <a:gd name="T40" fmla="*/ 375 w 735"/>
                    <a:gd name="T41" fmla="*/ 0 h 903"/>
                    <a:gd name="T42" fmla="*/ 351 w 735"/>
                    <a:gd name="T43" fmla="*/ 5 h 903"/>
                    <a:gd name="T44" fmla="*/ 332 w 735"/>
                    <a:gd name="T45" fmla="*/ 16 h 903"/>
                    <a:gd name="T46" fmla="*/ 314 w 735"/>
                    <a:gd name="T47" fmla="*/ 30 h 903"/>
                    <a:gd name="T48" fmla="*/ 306 w 735"/>
                    <a:gd name="T49" fmla="*/ 37 h 903"/>
                    <a:gd name="T50" fmla="*/ 36 w 735"/>
                    <a:gd name="T51" fmla="*/ 387 h 903"/>
                    <a:gd name="T52" fmla="*/ 22 w 735"/>
                    <a:gd name="T53" fmla="*/ 403 h 903"/>
                    <a:gd name="T54" fmla="*/ 11 w 735"/>
                    <a:gd name="T55" fmla="*/ 421 h 903"/>
                    <a:gd name="T56" fmla="*/ 4 w 735"/>
                    <a:gd name="T57" fmla="*/ 442 h 903"/>
                    <a:gd name="T58" fmla="*/ 0 w 735"/>
                    <a:gd name="T59" fmla="*/ 464 h 903"/>
                    <a:gd name="T60" fmla="*/ 0 w 735"/>
                    <a:gd name="T61" fmla="*/ 800 h 903"/>
                    <a:gd name="T62" fmla="*/ 9 w 735"/>
                    <a:gd name="T63" fmla="*/ 840 h 903"/>
                    <a:gd name="T64" fmla="*/ 31 w 735"/>
                    <a:gd name="T65" fmla="*/ 872 h 903"/>
                    <a:gd name="T66" fmla="*/ 63 w 735"/>
                    <a:gd name="T67" fmla="*/ 894 h 903"/>
                    <a:gd name="T68" fmla="*/ 105 w 735"/>
                    <a:gd name="T69" fmla="*/ 903 h 903"/>
                    <a:gd name="T70" fmla="*/ 236 w 735"/>
                    <a:gd name="T71" fmla="*/ 833 h 903"/>
                    <a:gd name="T72" fmla="*/ 105 w 735"/>
                    <a:gd name="T73" fmla="*/ 833 h 903"/>
                    <a:gd name="T74" fmla="*/ 92 w 735"/>
                    <a:gd name="T75" fmla="*/ 829 h 903"/>
                    <a:gd name="T76" fmla="*/ 81 w 735"/>
                    <a:gd name="T77" fmla="*/ 822 h 903"/>
                    <a:gd name="T78" fmla="*/ 74 w 735"/>
                    <a:gd name="T79" fmla="*/ 813 h 903"/>
                    <a:gd name="T80" fmla="*/ 72 w 735"/>
                    <a:gd name="T81" fmla="*/ 800 h 903"/>
                    <a:gd name="T82" fmla="*/ 72 w 735"/>
                    <a:gd name="T83" fmla="*/ 464 h 903"/>
                    <a:gd name="T84" fmla="*/ 74 w 735"/>
                    <a:gd name="T85" fmla="*/ 451 h 903"/>
                    <a:gd name="T86" fmla="*/ 81 w 735"/>
                    <a:gd name="T87" fmla="*/ 442 h 903"/>
                    <a:gd name="T88" fmla="*/ 92 w 735"/>
                    <a:gd name="T89" fmla="*/ 435 h 903"/>
                    <a:gd name="T90" fmla="*/ 105 w 735"/>
                    <a:gd name="T91" fmla="*/ 431 h 903"/>
                    <a:gd name="T92" fmla="*/ 283 w 735"/>
                    <a:gd name="T93" fmla="*/ 183 h 903"/>
                    <a:gd name="T94" fmla="*/ 283 w 735"/>
                    <a:gd name="T95" fmla="*/ 329 h 903"/>
                    <a:gd name="T96" fmla="*/ 281 w 735"/>
                    <a:gd name="T97" fmla="*/ 342 h 903"/>
                    <a:gd name="T98" fmla="*/ 274 w 735"/>
                    <a:gd name="T99" fmla="*/ 352 h 903"/>
                    <a:gd name="T100" fmla="*/ 263 w 735"/>
                    <a:gd name="T101" fmla="*/ 360 h 903"/>
                    <a:gd name="T102" fmla="*/ 251 w 735"/>
                    <a:gd name="T103" fmla="*/ 361 h 903"/>
                    <a:gd name="T104" fmla="*/ 283 w 735"/>
                    <a:gd name="T105" fmla="*/ 18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5" h="903">
                      <a:moveTo>
                        <a:pt x="105" y="431"/>
                      </a:moveTo>
                      <a:lnTo>
                        <a:pt x="251" y="431"/>
                      </a:lnTo>
                      <a:lnTo>
                        <a:pt x="251" y="431"/>
                      </a:lnTo>
                      <a:lnTo>
                        <a:pt x="272" y="430"/>
                      </a:lnTo>
                      <a:lnTo>
                        <a:pt x="292" y="424"/>
                      </a:lnTo>
                      <a:lnTo>
                        <a:pt x="308" y="415"/>
                      </a:lnTo>
                      <a:lnTo>
                        <a:pt x="324" y="403"/>
                      </a:lnTo>
                      <a:lnTo>
                        <a:pt x="337" y="387"/>
                      </a:lnTo>
                      <a:lnTo>
                        <a:pt x="346" y="369"/>
                      </a:lnTo>
                      <a:lnTo>
                        <a:pt x="351" y="351"/>
                      </a:lnTo>
                      <a:lnTo>
                        <a:pt x="355" y="329"/>
                      </a:lnTo>
                      <a:lnTo>
                        <a:pt x="355" y="102"/>
                      </a:lnTo>
                      <a:lnTo>
                        <a:pt x="355" y="102"/>
                      </a:lnTo>
                      <a:lnTo>
                        <a:pt x="355" y="97"/>
                      </a:lnTo>
                      <a:lnTo>
                        <a:pt x="357" y="90"/>
                      </a:lnTo>
                      <a:lnTo>
                        <a:pt x="360" y="84"/>
                      </a:lnTo>
                      <a:lnTo>
                        <a:pt x="364" y="79"/>
                      </a:lnTo>
                      <a:lnTo>
                        <a:pt x="369" y="75"/>
                      </a:lnTo>
                      <a:lnTo>
                        <a:pt x="375" y="73"/>
                      </a:lnTo>
                      <a:lnTo>
                        <a:pt x="380" y="72"/>
                      </a:lnTo>
                      <a:lnTo>
                        <a:pt x="387" y="70"/>
                      </a:lnTo>
                      <a:lnTo>
                        <a:pt x="634" y="70"/>
                      </a:lnTo>
                      <a:lnTo>
                        <a:pt x="634" y="70"/>
                      </a:lnTo>
                      <a:lnTo>
                        <a:pt x="643" y="72"/>
                      </a:lnTo>
                      <a:lnTo>
                        <a:pt x="650" y="75"/>
                      </a:lnTo>
                      <a:lnTo>
                        <a:pt x="657" y="81"/>
                      </a:lnTo>
                      <a:lnTo>
                        <a:pt x="661" y="86"/>
                      </a:lnTo>
                      <a:lnTo>
                        <a:pt x="661" y="86"/>
                      </a:lnTo>
                      <a:lnTo>
                        <a:pt x="684" y="84"/>
                      </a:lnTo>
                      <a:lnTo>
                        <a:pt x="735" y="84"/>
                      </a:lnTo>
                      <a:lnTo>
                        <a:pt x="735" y="84"/>
                      </a:lnTo>
                      <a:lnTo>
                        <a:pt x="731" y="68"/>
                      </a:lnTo>
                      <a:lnTo>
                        <a:pt x="722" y="52"/>
                      </a:lnTo>
                      <a:lnTo>
                        <a:pt x="713" y="37"/>
                      </a:lnTo>
                      <a:lnTo>
                        <a:pt x="701" y="25"/>
                      </a:lnTo>
                      <a:lnTo>
                        <a:pt x="686" y="14"/>
                      </a:lnTo>
                      <a:lnTo>
                        <a:pt x="670" y="7"/>
                      </a:lnTo>
                      <a:lnTo>
                        <a:pt x="652" y="1"/>
                      </a:lnTo>
                      <a:lnTo>
                        <a:pt x="634" y="0"/>
                      </a:lnTo>
                      <a:lnTo>
                        <a:pt x="387" y="0"/>
                      </a:lnTo>
                      <a:lnTo>
                        <a:pt x="387" y="0"/>
                      </a:lnTo>
                      <a:lnTo>
                        <a:pt x="375" y="0"/>
                      </a:lnTo>
                      <a:lnTo>
                        <a:pt x="364" y="1"/>
                      </a:lnTo>
                      <a:lnTo>
                        <a:pt x="351" y="5"/>
                      </a:lnTo>
                      <a:lnTo>
                        <a:pt x="342" y="10"/>
                      </a:lnTo>
                      <a:lnTo>
                        <a:pt x="332" y="16"/>
                      </a:lnTo>
                      <a:lnTo>
                        <a:pt x="323" y="21"/>
                      </a:lnTo>
                      <a:lnTo>
                        <a:pt x="314" y="30"/>
                      </a:lnTo>
                      <a:lnTo>
                        <a:pt x="306" y="37"/>
                      </a:lnTo>
                      <a:lnTo>
                        <a:pt x="306" y="37"/>
                      </a:lnTo>
                      <a:lnTo>
                        <a:pt x="36" y="387"/>
                      </a:lnTo>
                      <a:lnTo>
                        <a:pt x="36" y="387"/>
                      </a:lnTo>
                      <a:lnTo>
                        <a:pt x="29" y="394"/>
                      </a:lnTo>
                      <a:lnTo>
                        <a:pt x="22" y="403"/>
                      </a:lnTo>
                      <a:lnTo>
                        <a:pt x="17" y="412"/>
                      </a:lnTo>
                      <a:lnTo>
                        <a:pt x="11" y="421"/>
                      </a:lnTo>
                      <a:lnTo>
                        <a:pt x="6" y="431"/>
                      </a:lnTo>
                      <a:lnTo>
                        <a:pt x="4" y="442"/>
                      </a:lnTo>
                      <a:lnTo>
                        <a:pt x="2" y="453"/>
                      </a:lnTo>
                      <a:lnTo>
                        <a:pt x="0" y="464"/>
                      </a:lnTo>
                      <a:lnTo>
                        <a:pt x="0" y="800"/>
                      </a:lnTo>
                      <a:lnTo>
                        <a:pt x="0" y="800"/>
                      </a:lnTo>
                      <a:lnTo>
                        <a:pt x="2" y="820"/>
                      </a:lnTo>
                      <a:lnTo>
                        <a:pt x="9" y="840"/>
                      </a:lnTo>
                      <a:lnTo>
                        <a:pt x="18" y="858"/>
                      </a:lnTo>
                      <a:lnTo>
                        <a:pt x="31" y="872"/>
                      </a:lnTo>
                      <a:lnTo>
                        <a:pt x="47" y="885"/>
                      </a:lnTo>
                      <a:lnTo>
                        <a:pt x="63" y="894"/>
                      </a:lnTo>
                      <a:lnTo>
                        <a:pt x="83" y="901"/>
                      </a:lnTo>
                      <a:lnTo>
                        <a:pt x="105" y="903"/>
                      </a:lnTo>
                      <a:lnTo>
                        <a:pt x="236" y="903"/>
                      </a:lnTo>
                      <a:lnTo>
                        <a:pt x="236" y="833"/>
                      </a:lnTo>
                      <a:lnTo>
                        <a:pt x="105" y="833"/>
                      </a:lnTo>
                      <a:lnTo>
                        <a:pt x="105" y="833"/>
                      </a:lnTo>
                      <a:lnTo>
                        <a:pt x="98" y="831"/>
                      </a:lnTo>
                      <a:lnTo>
                        <a:pt x="92" y="829"/>
                      </a:lnTo>
                      <a:lnTo>
                        <a:pt x="87" y="827"/>
                      </a:lnTo>
                      <a:lnTo>
                        <a:pt x="81" y="822"/>
                      </a:lnTo>
                      <a:lnTo>
                        <a:pt x="78" y="818"/>
                      </a:lnTo>
                      <a:lnTo>
                        <a:pt x="74" y="813"/>
                      </a:lnTo>
                      <a:lnTo>
                        <a:pt x="72" y="806"/>
                      </a:lnTo>
                      <a:lnTo>
                        <a:pt x="72" y="800"/>
                      </a:lnTo>
                      <a:lnTo>
                        <a:pt x="72" y="464"/>
                      </a:lnTo>
                      <a:lnTo>
                        <a:pt x="72" y="464"/>
                      </a:lnTo>
                      <a:lnTo>
                        <a:pt x="72" y="458"/>
                      </a:lnTo>
                      <a:lnTo>
                        <a:pt x="74" y="451"/>
                      </a:lnTo>
                      <a:lnTo>
                        <a:pt x="78" y="446"/>
                      </a:lnTo>
                      <a:lnTo>
                        <a:pt x="81" y="442"/>
                      </a:lnTo>
                      <a:lnTo>
                        <a:pt x="87" y="437"/>
                      </a:lnTo>
                      <a:lnTo>
                        <a:pt x="92" y="435"/>
                      </a:lnTo>
                      <a:lnTo>
                        <a:pt x="98" y="433"/>
                      </a:lnTo>
                      <a:lnTo>
                        <a:pt x="105" y="431"/>
                      </a:lnTo>
                      <a:lnTo>
                        <a:pt x="105" y="431"/>
                      </a:lnTo>
                      <a:close/>
                      <a:moveTo>
                        <a:pt x="283" y="183"/>
                      </a:moveTo>
                      <a:lnTo>
                        <a:pt x="283" y="329"/>
                      </a:lnTo>
                      <a:lnTo>
                        <a:pt x="283" y="329"/>
                      </a:lnTo>
                      <a:lnTo>
                        <a:pt x="283" y="336"/>
                      </a:lnTo>
                      <a:lnTo>
                        <a:pt x="281" y="342"/>
                      </a:lnTo>
                      <a:lnTo>
                        <a:pt x="278" y="347"/>
                      </a:lnTo>
                      <a:lnTo>
                        <a:pt x="274" y="352"/>
                      </a:lnTo>
                      <a:lnTo>
                        <a:pt x="269" y="356"/>
                      </a:lnTo>
                      <a:lnTo>
                        <a:pt x="263" y="360"/>
                      </a:lnTo>
                      <a:lnTo>
                        <a:pt x="258" y="361"/>
                      </a:lnTo>
                      <a:lnTo>
                        <a:pt x="251" y="361"/>
                      </a:lnTo>
                      <a:lnTo>
                        <a:pt x="146" y="361"/>
                      </a:lnTo>
                      <a:lnTo>
                        <a:pt x="283" y="18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6" name="Freeform 23"/>
                <p:cNvSpPr>
                  <a:spLocks noEditPoints="1"/>
                </p:cNvSpPr>
                <p:nvPr/>
              </p:nvSpPr>
              <p:spPr bwMode="auto">
                <a:xfrm>
                  <a:off x="4805363" y="6675438"/>
                  <a:ext cx="584200" cy="717550"/>
                </a:xfrm>
                <a:custGeom>
                  <a:avLst/>
                  <a:gdLst>
                    <a:gd name="T0" fmla="*/ 387 w 737"/>
                    <a:gd name="T1" fmla="*/ 0 h 904"/>
                    <a:gd name="T2" fmla="*/ 375 w 737"/>
                    <a:gd name="T3" fmla="*/ 0 h 904"/>
                    <a:gd name="T4" fmla="*/ 353 w 737"/>
                    <a:gd name="T5" fmla="*/ 6 h 904"/>
                    <a:gd name="T6" fmla="*/ 332 w 737"/>
                    <a:gd name="T7" fmla="*/ 16 h 904"/>
                    <a:gd name="T8" fmla="*/ 314 w 737"/>
                    <a:gd name="T9" fmla="*/ 29 h 904"/>
                    <a:gd name="T10" fmla="*/ 306 w 737"/>
                    <a:gd name="T11" fmla="*/ 38 h 904"/>
                    <a:gd name="T12" fmla="*/ 36 w 737"/>
                    <a:gd name="T13" fmla="*/ 387 h 904"/>
                    <a:gd name="T14" fmla="*/ 22 w 737"/>
                    <a:gd name="T15" fmla="*/ 403 h 904"/>
                    <a:gd name="T16" fmla="*/ 11 w 737"/>
                    <a:gd name="T17" fmla="*/ 421 h 904"/>
                    <a:gd name="T18" fmla="*/ 4 w 737"/>
                    <a:gd name="T19" fmla="*/ 443 h 904"/>
                    <a:gd name="T20" fmla="*/ 0 w 737"/>
                    <a:gd name="T21" fmla="*/ 464 h 904"/>
                    <a:gd name="T22" fmla="*/ 0 w 737"/>
                    <a:gd name="T23" fmla="*/ 801 h 904"/>
                    <a:gd name="T24" fmla="*/ 9 w 737"/>
                    <a:gd name="T25" fmla="*/ 841 h 904"/>
                    <a:gd name="T26" fmla="*/ 31 w 737"/>
                    <a:gd name="T27" fmla="*/ 873 h 904"/>
                    <a:gd name="T28" fmla="*/ 63 w 737"/>
                    <a:gd name="T29" fmla="*/ 895 h 904"/>
                    <a:gd name="T30" fmla="*/ 105 w 737"/>
                    <a:gd name="T31" fmla="*/ 904 h 904"/>
                    <a:gd name="T32" fmla="*/ 634 w 737"/>
                    <a:gd name="T33" fmla="*/ 904 h 904"/>
                    <a:gd name="T34" fmla="*/ 674 w 737"/>
                    <a:gd name="T35" fmla="*/ 895 h 904"/>
                    <a:gd name="T36" fmla="*/ 708 w 737"/>
                    <a:gd name="T37" fmla="*/ 873 h 904"/>
                    <a:gd name="T38" fmla="*/ 729 w 737"/>
                    <a:gd name="T39" fmla="*/ 841 h 904"/>
                    <a:gd name="T40" fmla="*/ 737 w 737"/>
                    <a:gd name="T41" fmla="*/ 801 h 904"/>
                    <a:gd name="T42" fmla="*/ 737 w 737"/>
                    <a:gd name="T43" fmla="*/ 103 h 904"/>
                    <a:gd name="T44" fmla="*/ 729 w 737"/>
                    <a:gd name="T45" fmla="*/ 63 h 904"/>
                    <a:gd name="T46" fmla="*/ 708 w 737"/>
                    <a:gd name="T47" fmla="*/ 31 h 904"/>
                    <a:gd name="T48" fmla="*/ 674 w 737"/>
                    <a:gd name="T49" fmla="*/ 7 h 904"/>
                    <a:gd name="T50" fmla="*/ 634 w 737"/>
                    <a:gd name="T51" fmla="*/ 0 h 904"/>
                    <a:gd name="T52" fmla="*/ 283 w 737"/>
                    <a:gd name="T53" fmla="*/ 184 h 904"/>
                    <a:gd name="T54" fmla="*/ 283 w 737"/>
                    <a:gd name="T55" fmla="*/ 329 h 904"/>
                    <a:gd name="T56" fmla="*/ 281 w 737"/>
                    <a:gd name="T57" fmla="*/ 342 h 904"/>
                    <a:gd name="T58" fmla="*/ 274 w 737"/>
                    <a:gd name="T59" fmla="*/ 353 h 904"/>
                    <a:gd name="T60" fmla="*/ 263 w 737"/>
                    <a:gd name="T61" fmla="*/ 358 h 904"/>
                    <a:gd name="T62" fmla="*/ 251 w 737"/>
                    <a:gd name="T63" fmla="*/ 362 h 904"/>
                    <a:gd name="T64" fmla="*/ 283 w 737"/>
                    <a:gd name="T65" fmla="*/ 184 h 904"/>
                    <a:gd name="T66" fmla="*/ 666 w 737"/>
                    <a:gd name="T67" fmla="*/ 801 h 904"/>
                    <a:gd name="T68" fmla="*/ 665 w 737"/>
                    <a:gd name="T69" fmla="*/ 814 h 904"/>
                    <a:gd name="T70" fmla="*/ 657 w 737"/>
                    <a:gd name="T71" fmla="*/ 823 h 904"/>
                    <a:gd name="T72" fmla="*/ 647 w 737"/>
                    <a:gd name="T73" fmla="*/ 830 h 904"/>
                    <a:gd name="T74" fmla="*/ 634 w 737"/>
                    <a:gd name="T75" fmla="*/ 832 h 904"/>
                    <a:gd name="T76" fmla="*/ 105 w 737"/>
                    <a:gd name="T77" fmla="*/ 832 h 904"/>
                    <a:gd name="T78" fmla="*/ 92 w 737"/>
                    <a:gd name="T79" fmla="*/ 830 h 904"/>
                    <a:gd name="T80" fmla="*/ 81 w 737"/>
                    <a:gd name="T81" fmla="*/ 823 h 904"/>
                    <a:gd name="T82" fmla="*/ 74 w 737"/>
                    <a:gd name="T83" fmla="*/ 814 h 904"/>
                    <a:gd name="T84" fmla="*/ 72 w 737"/>
                    <a:gd name="T85" fmla="*/ 801 h 904"/>
                    <a:gd name="T86" fmla="*/ 72 w 737"/>
                    <a:gd name="T87" fmla="*/ 464 h 904"/>
                    <a:gd name="T88" fmla="*/ 74 w 737"/>
                    <a:gd name="T89" fmla="*/ 452 h 904"/>
                    <a:gd name="T90" fmla="*/ 81 w 737"/>
                    <a:gd name="T91" fmla="*/ 441 h 904"/>
                    <a:gd name="T92" fmla="*/ 92 w 737"/>
                    <a:gd name="T93" fmla="*/ 436 h 904"/>
                    <a:gd name="T94" fmla="*/ 105 w 737"/>
                    <a:gd name="T95" fmla="*/ 432 h 904"/>
                    <a:gd name="T96" fmla="*/ 251 w 737"/>
                    <a:gd name="T97" fmla="*/ 432 h 904"/>
                    <a:gd name="T98" fmla="*/ 292 w 737"/>
                    <a:gd name="T99" fmla="*/ 425 h 904"/>
                    <a:gd name="T100" fmla="*/ 324 w 737"/>
                    <a:gd name="T101" fmla="*/ 401 h 904"/>
                    <a:gd name="T102" fmla="*/ 346 w 737"/>
                    <a:gd name="T103" fmla="*/ 369 h 904"/>
                    <a:gd name="T104" fmla="*/ 355 w 737"/>
                    <a:gd name="T105" fmla="*/ 329 h 904"/>
                    <a:gd name="T106" fmla="*/ 355 w 737"/>
                    <a:gd name="T107" fmla="*/ 103 h 904"/>
                    <a:gd name="T108" fmla="*/ 357 w 737"/>
                    <a:gd name="T109" fmla="*/ 90 h 904"/>
                    <a:gd name="T110" fmla="*/ 364 w 737"/>
                    <a:gd name="T111" fmla="*/ 79 h 904"/>
                    <a:gd name="T112" fmla="*/ 375 w 737"/>
                    <a:gd name="T113" fmla="*/ 72 h 904"/>
                    <a:gd name="T114" fmla="*/ 387 w 737"/>
                    <a:gd name="T115" fmla="*/ 70 h 904"/>
                    <a:gd name="T116" fmla="*/ 634 w 737"/>
                    <a:gd name="T117" fmla="*/ 70 h 904"/>
                    <a:gd name="T118" fmla="*/ 647 w 737"/>
                    <a:gd name="T119" fmla="*/ 72 h 904"/>
                    <a:gd name="T120" fmla="*/ 657 w 737"/>
                    <a:gd name="T121" fmla="*/ 79 h 904"/>
                    <a:gd name="T122" fmla="*/ 665 w 737"/>
                    <a:gd name="T123" fmla="*/ 90 h 904"/>
                    <a:gd name="T124" fmla="*/ 666 w 737"/>
                    <a:gd name="T125" fmla="*/ 103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7" h="904">
                      <a:moveTo>
                        <a:pt x="634" y="0"/>
                      </a:moveTo>
                      <a:lnTo>
                        <a:pt x="387" y="0"/>
                      </a:lnTo>
                      <a:lnTo>
                        <a:pt x="387" y="0"/>
                      </a:lnTo>
                      <a:lnTo>
                        <a:pt x="375" y="0"/>
                      </a:lnTo>
                      <a:lnTo>
                        <a:pt x="364" y="2"/>
                      </a:lnTo>
                      <a:lnTo>
                        <a:pt x="353" y="6"/>
                      </a:lnTo>
                      <a:lnTo>
                        <a:pt x="342" y="9"/>
                      </a:lnTo>
                      <a:lnTo>
                        <a:pt x="332" y="16"/>
                      </a:lnTo>
                      <a:lnTo>
                        <a:pt x="323" y="22"/>
                      </a:lnTo>
                      <a:lnTo>
                        <a:pt x="314" y="29"/>
                      </a:lnTo>
                      <a:lnTo>
                        <a:pt x="306" y="38"/>
                      </a:lnTo>
                      <a:lnTo>
                        <a:pt x="306" y="38"/>
                      </a:lnTo>
                      <a:lnTo>
                        <a:pt x="36" y="387"/>
                      </a:lnTo>
                      <a:lnTo>
                        <a:pt x="36" y="387"/>
                      </a:lnTo>
                      <a:lnTo>
                        <a:pt x="29" y="394"/>
                      </a:lnTo>
                      <a:lnTo>
                        <a:pt x="22" y="403"/>
                      </a:lnTo>
                      <a:lnTo>
                        <a:pt x="17" y="412"/>
                      </a:lnTo>
                      <a:lnTo>
                        <a:pt x="11" y="421"/>
                      </a:lnTo>
                      <a:lnTo>
                        <a:pt x="8" y="432"/>
                      </a:lnTo>
                      <a:lnTo>
                        <a:pt x="4" y="443"/>
                      </a:lnTo>
                      <a:lnTo>
                        <a:pt x="2" y="454"/>
                      </a:lnTo>
                      <a:lnTo>
                        <a:pt x="0" y="464"/>
                      </a:lnTo>
                      <a:lnTo>
                        <a:pt x="0" y="801"/>
                      </a:lnTo>
                      <a:lnTo>
                        <a:pt x="0" y="801"/>
                      </a:lnTo>
                      <a:lnTo>
                        <a:pt x="4" y="821"/>
                      </a:lnTo>
                      <a:lnTo>
                        <a:pt x="9" y="841"/>
                      </a:lnTo>
                      <a:lnTo>
                        <a:pt x="18" y="857"/>
                      </a:lnTo>
                      <a:lnTo>
                        <a:pt x="31" y="873"/>
                      </a:lnTo>
                      <a:lnTo>
                        <a:pt x="47" y="886"/>
                      </a:lnTo>
                      <a:lnTo>
                        <a:pt x="63" y="895"/>
                      </a:lnTo>
                      <a:lnTo>
                        <a:pt x="83" y="902"/>
                      </a:lnTo>
                      <a:lnTo>
                        <a:pt x="105" y="904"/>
                      </a:lnTo>
                      <a:lnTo>
                        <a:pt x="634" y="904"/>
                      </a:lnTo>
                      <a:lnTo>
                        <a:pt x="634" y="904"/>
                      </a:lnTo>
                      <a:lnTo>
                        <a:pt x="656" y="902"/>
                      </a:lnTo>
                      <a:lnTo>
                        <a:pt x="674" y="895"/>
                      </a:lnTo>
                      <a:lnTo>
                        <a:pt x="692" y="886"/>
                      </a:lnTo>
                      <a:lnTo>
                        <a:pt x="708" y="873"/>
                      </a:lnTo>
                      <a:lnTo>
                        <a:pt x="720" y="857"/>
                      </a:lnTo>
                      <a:lnTo>
                        <a:pt x="729" y="841"/>
                      </a:lnTo>
                      <a:lnTo>
                        <a:pt x="735" y="821"/>
                      </a:lnTo>
                      <a:lnTo>
                        <a:pt x="737" y="801"/>
                      </a:lnTo>
                      <a:lnTo>
                        <a:pt x="737" y="103"/>
                      </a:lnTo>
                      <a:lnTo>
                        <a:pt x="737" y="103"/>
                      </a:lnTo>
                      <a:lnTo>
                        <a:pt x="735" y="81"/>
                      </a:lnTo>
                      <a:lnTo>
                        <a:pt x="729" y="63"/>
                      </a:lnTo>
                      <a:lnTo>
                        <a:pt x="720" y="45"/>
                      </a:lnTo>
                      <a:lnTo>
                        <a:pt x="708" y="31"/>
                      </a:lnTo>
                      <a:lnTo>
                        <a:pt x="692" y="18"/>
                      </a:lnTo>
                      <a:lnTo>
                        <a:pt x="674" y="7"/>
                      </a:lnTo>
                      <a:lnTo>
                        <a:pt x="656" y="2"/>
                      </a:lnTo>
                      <a:lnTo>
                        <a:pt x="634" y="0"/>
                      </a:lnTo>
                      <a:lnTo>
                        <a:pt x="634" y="0"/>
                      </a:lnTo>
                      <a:close/>
                      <a:moveTo>
                        <a:pt x="283" y="184"/>
                      </a:moveTo>
                      <a:lnTo>
                        <a:pt x="283" y="329"/>
                      </a:lnTo>
                      <a:lnTo>
                        <a:pt x="283" y="329"/>
                      </a:lnTo>
                      <a:lnTo>
                        <a:pt x="283" y="335"/>
                      </a:lnTo>
                      <a:lnTo>
                        <a:pt x="281" y="342"/>
                      </a:lnTo>
                      <a:lnTo>
                        <a:pt x="278" y="347"/>
                      </a:lnTo>
                      <a:lnTo>
                        <a:pt x="274" y="353"/>
                      </a:lnTo>
                      <a:lnTo>
                        <a:pt x="270" y="356"/>
                      </a:lnTo>
                      <a:lnTo>
                        <a:pt x="263" y="358"/>
                      </a:lnTo>
                      <a:lnTo>
                        <a:pt x="258" y="360"/>
                      </a:lnTo>
                      <a:lnTo>
                        <a:pt x="251" y="362"/>
                      </a:lnTo>
                      <a:lnTo>
                        <a:pt x="146" y="362"/>
                      </a:lnTo>
                      <a:lnTo>
                        <a:pt x="283" y="184"/>
                      </a:lnTo>
                      <a:close/>
                      <a:moveTo>
                        <a:pt x="666" y="801"/>
                      </a:moveTo>
                      <a:lnTo>
                        <a:pt x="666" y="801"/>
                      </a:lnTo>
                      <a:lnTo>
                        <a:pt x="666" y="806"/>
                      </a:lnTo>
                      <a:lnTo>
                        <a:pt x="665" y="814"/>
                      </a:lnTo>
                      <a:lnTo>
                        <a:pt x="661" y="819"/>
                      </a:lnTo>
                      <a:lnTo>
                        <a:pt x="657" y="823"/>
                      </a:lnTo>
                      <a:lnTo>
                        <a:pt x="652" y="826"/>
                      </a:lnTo>
                      <a:lnTo>
                        <a:pt x="647" y="830"/>
                      </a:lnTo>
                      <a:lnTo>
                        <a:pt x="641" y="832"/>
                      </a:lnTo>
                      <a:lnTo>
                        <a:pt x="634" y="832"/>
                      </a:lnTo>
                      <a:lnTo>
                        <a:pt x="105" y="832"/>
                      </a:lnTo>
                      <a:lnTo>
                        <a:pt x="105" y="832"/>
                      </a:lnTo>
                      <a:lnTo>
                        <a:pt x="98" y="832"/>
                      </a:lnTo>
                      <a:lnTo>
                        <a:pt x="92" y="830"/>
                      </a:lnTo>
                      <a:lnTo>
                        <a:pt x="87" y="826"/>
                      </a:lnTo>
                      <a:lnTo>
                        <a:pt x="81" y="823"/>
                      </a:lnTo>
                      <a:lnTo>
                        <a:pt x="78" y="819"/>
                      </a:lnTo>
                      <a:lnTo>
                        <a:pt x="74" y="814"/>
                      </a:lnTo>
                      <a:lnTo>
                        <a:pt x="72" y="806"/>
                      </a:lnTo>
                      <a:lnTo>
                        <a:pt x="72" y="801"/>
                      </a:lnTo>
                      <a:lnTo>
                        <a:pt x="72" y="464"/>
                      </a:lnTo>
                      <a:lnTo>
                        <a:pt x="72" y="464"/>
                      </a:lnTo>
                      <a:lnTo>
                        <a:pt x="72" y="457"/>
                      </a:lnTo>
                      <a:lnTo>
                        <a:pt x="74" y="452"/>
                      </a:lnTo>
                      <a:lnTo>
                        <a:pt x="78" y="446"/>
                      </a:lnTo>
                      <a:lnTo>
                        <a:pt x="81" y="441"/>
                      </a:lnTo>
                      <a:lnTo>
                        <a:pt x="87" y="437"/>
                      </a:lnTo>
                      <a:lnTo>
                        <a:pt x="92" y="436"/>
                      </a:lnTo>
                      <a:lnTo>
                        <a:pt x="98" y="432"/>
                      </a:lnTo>
                      <a:lnTo>
                        <a:pt x="105" y="432"/>
                      </a:lnTo>
                      <a:lnTo>
                        <a:pt x="251" y="432"/>
                      </a:lnTo>
                      <a:lnTo>
                        <a:pt x="251" y="432"/>
                      </a:lnTo>
                      <a:lnTo>
                        <a:pt x="272" y="430"/>
                      </a:lnTo>
                      <a:lnTo>
                        <a:pt x="292" y="425"/>
                      </a:lnTo>
                      <a:lnTo>
                        <a:pt x="308" y="414"/>
                      </a:lnTo>
                      <a:lnTo>
                        <a:pt x="324" y="401"/>
                      </a:lnTo>
                      <a:lnTo>
                        <a:pt x="337" y="387"/>
                      </a:lnTo>
                      <a:lnTo>
                        <a:pt x="346" y="369"/>
                      </a:lnTo>
                      <a:lnTo>
                        <a:pt x="353" y="349"/>
                      </a:lnTo>
                      <a:lnTo>
                        <a:pt x="355" y="329"/>
                      </a:lnTo>
                      <a:lnTo>
                        <a:pt x="355" y="103"/>
                      </a:lnTo>
                      <a:lnTo>
                        <a:pt x="355" y="103"/>
                      </a:lnTo>
                      <a:lnTo>
                        <a:pt x="355" y="96"/>
                      </a:lnTo>
                      <a:lnTo>
                        <a:pt x="357" y="90"/>
                      </a:lnTo>
                      <a:lnTo>
                        <a:pt x="360" y="85"/>
                      </a:lnTo>
                      <a:lnTo>
                        <a:pt x="364" y="79"/>
                      </a:lnTo>
                      <a:lnTo>
                        <a:pt x="369" y="76"/>
                      </a:lnTo>
                      <a:lnTo>
                        <a:pt x="375" y="72"/>
                      </a:lnTo>
                      <a:lnTo>
                        <a:pt x="380" y="70"/>
                      </a:lnTo>
                      <a:lnTo>
                        <a:pt x="387" y="70"/>
                      </a:lnTo>
                      <a:lnTo>
                        <a:pt x="634" y="70"/>
                      </a:lnTo>
                      <a:lnTo>
                        <a:pt x="634" y="70"/>
                      </a:lnTo>
                      <a:lnTo>
                        <a:pt x="641" y="70"/>
                      </a:lnTo>
                      <a:lnTo>
                        <a:pt x="647" y="72"/>
                      </a:lnTo>
                      <a:lnTo>
                        <a:pt x="652" y="76"/>
                      </a:lnTo>
                      <a:lnTo>
                        <a:pt x="657" y="79"/>
                      </a:lnTo>
                      <a:lnTo>
                        <a:pt x="661" y="85"/>
                      </a:lnTo>
                      <a:lnTo>
                        <a:pt x="665" y="90"/>
                      </a:lnTo>
                      <a:lnTo>
                        <a:pt x="666" y="96"/>
                      </a:lnTo>
                      <a:lnTo>
                        <a:pt x="666" y="103"/>
                      </a:lnTo>
                      <a:lnTo>
                        <a:pt x="666" y="8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grpSp>
          <p:nvGrpSpPr>
            <p:cNvPr id="87" name="组合 86"/>
            <p:cNvGrpSpPr/>
            <p:nvPr/>
          </p:nvGrpSpPr>
          <p:grpSpPr>
            <a:xfrm>
              <a:off x="13503" y="5665"/>
              <a:ext cx="946" cy="946"/>
              <a:chOff x="5568562" y="1104393"/>
              <a:chExt cx="720000" cy="720000"/>
            </a:xfrm>
          </p:grpSpPr>
          <p:sp>
            <p:nvSpPr>
              <p:cNvPr id="88" name="椭圆 87"/>
              <p:cNvSpPr/>
              <p:nvPr/>
            </p:nvSpPr>
            <p:spPr>
              <a:xfrm>
                <a:off x="5568562" y="1104393"/>
                <a:ext cx="720000" cy="720000"/>
              </a:xfrm>
              <a:prstGeom prst="ellipse">
                <a:avLst/>
              </a:prstGeom>
              <a:solidFill>
                <a:srgbClr val="0041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9" name="Freeform 24"/>
              <p:cNvSpPr>
                <a:spLocks noEditPoints="1"/>
              </p:cNvSpPr>
              <p:nvPr/>
            </p:nvSpPr>
            <p:spPr bwMode="auto">
              <a:xfrm>
                <a:off x="5709421" y="1226450"/>
                <a:ext cx="438282" cy="430166"/>
              </a:xfrm>
              <a:custGeom>
                <a:avLst/>
                <a:gdLst>
                  <a:gd name="T0" fmla="*/ 860 w 1082"/>
                  <a:gd name="T1" fmla="*/ 689 h 1058"/>
                  <a:gd name="T2" fmla="*/ 844 w 1082"/>
                  <a:gd name="T3" fmla="*/ 709 h 1058"/>
                  <a:gd name="T4" fmla="*/ 905 w 1082"/>
                  <a:gd name="T5" fmla="*/ 783 h 1058"/>
                  <a:gd name="T6" fmla="*/ 808 w 1082"/>
                  <a:gd name="T7" fmla="*/ 855 h 1058"/>
                  <a:gd name="T8" fmla="*/ 657 w 1082"/>
                  <a:gd name="T9" fmla="*/ 914 h 1058"/>
                  <a:gd name="T10" fmla="*/ 738 w 1082"/>
                  <a:gd name="T11" fmla="*/ 525 h 1058"/>
                  <a:gd name="T12" fmla="*/ 760 w 1082"/>
                  <a:gd name="T13" fmla="*/ 515 h 1058"/>
                  <a:gd name="T14" fmla="*/ 770 w 1082"/>
                  <a:gd name="T15" fmla="*/ 493 h 1058"/>
                  <a:gd name="T16" fmla="*/ 767 w 1082"/>
                  <a:gd name="T17" fmla="*/ 391 h 1058"/>
                  <a:gd name="T18" fmla="*/ 751 w 1082"/>
                  <a:gd name="T19" fmla="*/ 374 h 1058"/>
                  <a:gd name="T20" fmla="*/ 616 w 1082"/>
                  <a:gd name="T21" fmla="*/ 266 h 1058"/>
                  <a:gd name="T22" fmla="*/ 655 w 1082"/>
                  <a:gd name="T23" fmla="*/ 230 h 1058"/>
                  <a:gd name="T24" fmla="*/ 684 w 1082"/>
                  <a:gd name="T25" fmla="*/ 162 h 1058"/>
                  <a:gd name="T26" fmla="*/ 682 w 1082"/>
                  <a:gd name="T27" fmla="*/ 115 h 1058"/>
                  <a:gd name="T28" fmla="*/ 661 w 1082"/>
                  <a:gd name="T29" fmla="*/ 63 h 1058"/>
                  <a:gd name="T30" fmla="*/ 621 w 1082"/>
                  <a:gd name="T31" fmla="*/ 25 h 1058"/>
                  <a:gd name="T32" fmla="*/ 571 w 1082"/>
                  <a:gd name="T33" fmla="*/ 4 h 1058"/>
                  <a:gd name="T34" fmla="*/ 527 w 1082"/>
                  <a:gd name="T35" fmla="*/ 0 h 1058"/>
                  <a:gd name="T36" fmla="*/ 473 w 1082"/>
                  <a:gd name="T37" fmla="*/ 18 h 1058"/>
                  <a:gd name="T38" fmla="*/ 430 w 1082"/>
                  <a:gd name="T39" fmla="*/ 52 h 1058"/>
                  <a:gd name="T40" fmla="*/ 405 w 1082"/>
                  <a:gd name="T41" fmla="*/ 101 h 1058"/>
                  <a:gd name="T42" fmla="*/ 398 w 1082"/>
                  <a:gd name="T43" fmla="*/ 144 h 1058"/>
                  <a:gd name="T44" fmla="*/ 418 w 1082"/>
                  <a:gd name="T45" fmla="*/ 214 h 1058"/>
                  <a:gd name="T46" fmla="*/ 468 w 1082"/>
                  <a:gd name="T47" fmla="*/ 266 h 1058"/>
                  <a:gd name="T48" fmla="*/ 338 w 1082"/>
                  <a:gd name="T49" fmla="*/ 373 h 1058"/>
                  <a:gd name="T50" fmla="*/ 319 w 1082"/>
                  <a:gd name="T51" fmla="*/ 385 h 1058"/>
                  <a:gd name="T52" fmla="*/ 313 w 1082"/>
                  <a:gd name="T53" fmla="*/ 493 h 1058"/>
                  <a:gd name="T54" fmla="*/ 319 w 1082"/>
                  <a:gd name="T55" fmla="*/ 511 h 1058"/>
                  <a:gd name="T56" fmla="*/ 338 w 1082"/>
                  <a:gd name="T57" fmla="*/ 524 h 1058"/>
                  <a:gd name="T58" fmla="*/ 468 w 1082"/>
                  <a:gd name="T59" fmla="*/ 921 h 1058"/>
                  <a:gd name="T60" fmla="*/ 310 w 1082"/>
                  <a:gd name="T61" fmla="*/ 875 h 1058"/>
                  <a:gd name="T62" fmla="*/ 176 w 1082"/>
                  <a:gd name="T63" fmla="*/ 783 h 1058"/>
                  <a:gd name="T64" fmla="*/ 238 w 1082"/>
                  <a:gd name="T65" fmla="*/ 716 h 1058"/>
                  <a:gd name="T66" fmla="*/ 229 w 1082"/>
                  <a:gd name="T67" fmla="*/ 693 h 1058"/>
                  <a:gd name="T68" fmla="*/ 23 w 1082"/>
                  <a:gd name="T69" fmla="*/ 689 h 1058"/>
                  <a:gd name="T70" fmla="*/ 0 w 1082"/>
                  <a:gd name="T71" fmla="*/ 713 h 1058"/>
                  <a:gd name="T72" fmla="*/ 4 w 1082"/>
                  <a:gd name="T73" fmla="*/ 916 h 1058"/>
                  <a:gd name="T74" fmla="*/ 27 w 1082"/>
                  <a:gd name="T75" fmla="*/ 927 h 1058"/>
                  <a:gd name="T76" fmla="*/ 83 w 1082"/>
                  <a:gd name="T77" fmla="*/ 876 h 1058"/>
                  <a:gd name="T78" fmla="*/ 180 w 1082"/>
                  <a:gd name="T79" fmla="*/ 952 h 1058"/>
                  <a:gd name="T80" fmla="*/ 292 w 1082"/>
                  <a:gd name="T81" fmla="*/ 1010 h 1058"/>
                  <a:gd name="T82" fmla="*/ 412 w 1082"/>
                  <a:gd name="T83" fmla="*/ 1046 h 1058"/>
                  <a:gd name="T84" fmla="*/ 542 w 1082"/>
                  <a:gd name="T85" fmla="*/ 1058 h 1058"/>
                  <a:gd name="T86" fmla="*/ 639 w 1082"/>
                  <a:gd name="T87" fmla="*/ 1051 h 1058"/>
                  <a:gd name="T88" fmla="*/ 761 w 1082"/>
                  <a:gd name="T89" fmla="*/ 1020 h 1058"/>
                  <a:gd name="T90" fmla="*/ 875 w 1082"/>
                  <a:gd name="T91" fmla="*/ 968 h 1058"/>
                  <a:gd name="T92" fmla="*/ 976 w 1082"/>
                  <a:gd name="T93" fmla="*/ 896 h 1058"/>
                  <a:gd name="T94" fmla="*/ 1049 w 1082"/>
                  <a:gd name="T95" fmla="*/ 923 h 1058"/>
                  <a:gd name="T96" fmla="*/ 1075 w 1082"/>
                  <a:gd name="T97" fmla="*/ 921 h 1058"/>
                  <a:gd name="T98" fmla="*/ 1082 w 1082"/>
                  <a:gd name="T99" fmla="*/ 713 h 1058"/>
                  <a:gd name="T100" fmla="*/ 1069 w 1082"/>
                  <a:gd name="T101" fmla="*/ 691 h 1058"/>
                  <a:gd name="T102" fmla="*/ 542 w 1082"/>
                  <a:gd name="T103" fmla="*/ 189 h 1058"/>
                  <a:gd name="T104" fmla="*/ 509 w 1082"/>
                  <a:gd name="T105" fmla="*/ 175 h 1058"/>
                  <a:gd name="T106" fmla="*/ 497 w 1082"/>
                  <a:gd name="T107" fmla="*/ 144 h 1058"/>
                  <a:gd name="T108" fmla="*/ 504 w 1082"/>
                  <a:gd name="T109" fmla="*/ 119 h 1058"/>
                  <a:gd name="T110" fmla="*/ 533 w 1082"/>
                  <a:gd name="T111" fmla="*/ 99 h 1058"/>
                  <a:gd name="T112" fmla="*/ 558 w 1082"/>
                  <a:gd name="T113" fmla="*/ 103 h 1058"/>
                  <a:gd name="T114" fmla="*/ 583 w 1082"/>
                  <a:gd name="T115" fmla="*/ 126 h 1058"/>
                  <a:gd name="T116" fmla="*/ 585 w 1082"/>
                  <a:gd name="T117" fmla="*/ 153 h 1058"/>
                  <a:gd name="T118" fmla="*/ 567 w 1082"/>
                  <a:gd name="T119" fmla="*/ 180 h 1058"/>
                  <a:gd name="T120" fmla="*/ 542 w 1082"/>
                  <a:gd name="T121" fmla="*/ 189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2" h="1058">
                    <a:moveTo>
                      <a:pt x="1058" y="689"/>
                    </a:moveTo>
                    <a:lnTo>
                      <a:pt x="868" y="689"/>
                    </a:lnTo>
                    <a:lnTo>
                      <a:pt x="868" y="689"/>
                    </a:lnTo>
                    <a:lnTo>
                      <a:pt x="860" y="689"/>
                    </a:lnTo>
                    <a:lnTo>
                      <a:pt x="855" y="693"/>
                    </a:lnTo>
                    <a:lnTo>
                      <a:pt x="850" y="698"/>
                    </a:lnTo>
                    <a:lnTo>
                      <a:pt x="846" y="704"/>
                    </a:lnTo>
                    <a:lnTo>
                      <a:pt x="844" y="709"/>
                    </a:lnTo>
                    <a:lnTo>
                      <a:pt x="844" y="716"/>
                    </a:lnTo>
                    <a:lnTo>
                      <a:pt x="848" y="722"/>
                    </a:lnTo>
                    <a:lnTo>
                      <a:pt x="851" y="729"/>
                    </a:lnTo>
                    <a:lnTo>
                      <a:pt x="905" y="783"/>
                    </a:lnTo>
                    <a:lnTo>
                      <a:pt x="905" y="783"/>
                    </a:lnTo>
                    <a:lnTo>
                      <a:pt x="875" y="810"/>
                    </a:lnTo>
                    <a:lnTo>
                      <a:pt x="842" y="833"/>
                    </a:lnTo>
                    <a:lnTo>
                      <a:pt x="808" y="855"/>
                    </a:lnTo>
                    <a:lnTo>
                      <a:pt x="772" y="875"/>
                    </a:lnTo>
                    <a:lnTo>
                      <a:pt x="736" y="891"/>
                    </a:lnTo>
                    <a:lnTo>
                      <a:pt x="697" y="903"/>
                    </a:lnTo>
                    <a:lnTo>
                      <a:pt x="657" y="914"/>
                    </a:lnTo>
                    <a:lnTo>
                      <a:pt x="616" y="921"/>
                    </a:lnTo>
                    <a:lnTo>
                      <a:pt x="616" y="525"/>
                    </a:lnTo>
                    <a:lnTo>
                      <a:pt x="738" y="525"/>
                    </a:lnTo>
                    <a:lnTo>
                      <a:pt x="738" y="525"/>
                    </a:lnTo>
                    <a:lnTo>
                      <a:pt x="743" y="524"/>
                    </a:lnTo>
                    <a:lnTo>
                      <a:pt x="751" y="522"/>
                    </a:lnTo>
                    <a:lnTo>
                      <a:pt x="756" y="520"/>
                    </a:lnTo>
                    <a:lnTo>
                      <a:pt x="760" y="515"/>
                    </a:lnTo>
                    <a:lnTo>
                      <a:pt x="763" y="511"/>
                    </a:lnTo>
                    <a:lnTo>
                      <a:pt x="767" y="506"/>
                    </a:lnTo>
                    <a:lnTo>
                      <a:pt x="769" y="498"/>
                    </a:lnTo>
                    <a:lnTo>
                      <a:pt x="770" y="493"/>
                    </a:lnTo>
                    <a:lnTo>
                      <a:pt x="770" y="403"/>
                    </a:lnTo>
                    <a:lnTo>
                      <a:pt x="770" y="403"/>
                    </a:lnTo>
                    <a:lnTo>
                      <a:pt x="769" y="398"/>
                    </a:lnTo>
                    <a:lnTo>
                      <a:pt x="767" y="391"/>
                    </a:lnTo>
                    <a:lnTo>
                      <a:pt x="763" y="385"/>
                    </a:lnTo>
                    <a:lnTo>
                      <a:pt x="760" y="382"/>
                    </a:lnTo>
                    <a:lnTo>
                      <a:pt x="756" y="378"/>
                    </a:lnTo>
                    <a:lnTo>
                      <a:pt x="751" y="374"/>
                    </a:lnTo>
                    <a:lnTo>
                      <a:pt x="743" y="373"/>
                    </a:lnTo>
                    <a:lnTo>
                      <a:pt x="738" y="373"/>
                    </a:lnTo>
                    <a:lnTo>
                      <a:pt x="616" y="373"/>
                    </a:lnTo>
                    <a:lnTo>
                      <a:pt x="616" y="266"/>
                    </a:lnTo>
                    <a:lnTo>
                      <a:pt x="616" y="266"/>
                    </a:lnTo>
                    <a:lnTo>
                      <a:pt x="630" y="256"/>
                    </a:lnTo>
                    <a:lnTo>
                      <a:pt x="644" y="243"/>
                    </a:lnTo>
                    <a:lnTo>
                      <a:pt x="655" y="230"/>
                    </a:lnTo>
                    <a:lnTo>
                      <a:pt x="666" y="214"/>
                    </a:lnTo>
                    <a:lnTo>
                      <a:pt x="673" y="198"/>
                    </a:lnTo>
                    <a:lnTo>
                      <a:pt x="680" y="182"/>
                    </a:lnTo>
                    <a:lnTo>
                      <a:pt x="684" y="162"/>
                    </a:lnTo>
                    <a:lnTo>
                      <a:pt x="684" y="144"/>
                    </a:lnTo>
                    <a:lnTo>
                      <a:pt x="684" y="144"/>
                    </a:lnTo>
                    <a:lnTo>
                      <a:pt x="684" y="130"/>
                    </a:lnTo>
                    <a:lnTo>
                      <a:pt x="682" y="115"/>
                    </a:lnTo>
                    <a:lnTo>
                      <a:pt x="679" y="101"/>
                    </a:lnTo>
                    <a:lnTo>
                      <a:pt x="673" y="88"/>
                    </a:lnTo>
                    <a:lnTo>
                      <a:pt x="668" y="76"/>
                    </a:lnTo>
                    <a:lnTo>
                      <a:pt x="661" y="63"/>
                    </a:lnTo>
                    <a:lnTo>
                      <a:pt x="652" y="52"/>
                    </a:lnTo>
                    <a:lnTo>
                      <a:pt x="643" y="41"/>
                    </a:lnTo>
                    <a:lnTo>
                      <a:pt x="632" y="32"/>
                    </a:lnTo>
                    <a:lnTo>
                      <a:pt x="621" y="25"/>
                    </a:lnTo>
                    <a:lnTo>
                      <a:pt x="610" y="18"/>
                    </a:lnTo>
                    <a:lnTo>
                      <a:pt x="598" y="11"/>
                    </a:lnTo>
                    <a:lnTo>
                      <a:pt x="583" y="7"/>
                    </a:lnTo>
                    <a:lnTo>
                      <a:pt x="571" y="4"/>
                    </a:lnTo>
                    <a:lnTo>
                      <a:pt x="556" y="0"/>
                    </a:lnTo>
                    <a:lnTo>
                      <a:pt x="542" y="0"/>
                    </a:lnTo>
                    <a:lnTo>
                      <a:pt x="542" y="0"/>
                    </a:lnTo>
                    <a:lnTo>
                      <a:pt x="527" y="0"/>
                    </a:lnTo>
                    <a:lnTo>
                      <a:pt x="513" y="4"/>
                    </a:lnTo>
                    <a:lnTo>
                      <a:pt x="499" y="7"/>
                    </a:lnTo>
                    <a:lnTo>
                      <a:pt x="486" y="11"/>
                    </a:lnTo>
                    <a:lnTo>
                      <a:pt x="473" y="18"/>
                    </a:lnTo>
                    <a:lnTo>
                      <a:pt x="461" y="25"/>
                    </a:lnTo>
                    <a:lnTo>
                      <a:pt x="450" y="32"/>
                    </a:lnTo>
                    <a:lnTo>
                      <a:pt x="439" y="41"/>
                    </a:lnTo>
                    <a:lnTo>
                      <a:pt x="430" y="52"/>
                    </a:lnTo>
                    <a:lnTo>
                      <a:pt x="423" y="63"/>
                    </a:lnTo>
                    <a:lnTo>
                      <a:pt x="416" y="76"/>
                    </a:lnTo>
                    <a:lnTo>
                      <a:pt x="409" y="88"/>
                    </a:lnTo>
                    <a:lnTo>
                      <a:pt x="405" y="101"/>
                    </a:lnTo>
                    <a:lnTo>
                      <a:pt x="401" y="115"/>
                    </a:lnTo>
                    <a:lnTo>
                      <a:pt x="398" y="130"/>
                    </a:lnTo>
                    <a:lnTo>
                      <a:pt x="398" y="144"/>
                    </a:lnTo>
                    <a:lnTo>
                      <a:pt x="398" y="144"/>
                    </a:lnTo>
                    <a:lnTo>
                      <a:pt x="400" y="162"/>
                    </a:lnTo>
                    <a:lnTo>
                      <a:pt x="403" y="182"/>
                    </a:lnTo>
                    <a:lnTo>
                      <a:pt x="409" y="198"/>
                    </a:lnTo>
                    <a:lnTo>
                      <a:pt x="418" y="214"/>
                    </a:lnTo>
                    <a:lnTo>
                      <a:pt x="427" y="230"/>
                    </a:lnTo>
                    <a:lnTo>
                      <a:pt x="439" y="243"/>
                    </a:lnTo>
                    <a:lnTo>
                      <a:pt x="452" y="256"/>
                    </a:lnTo>
                    <a:lnTo>
                      <a:pt x="468" y="266"/>
                    </a:lnTo>
                    <a:lnTo>
                      <a:pt x="468" y="373"/>
                    </a:lnTo>
                    <a:lnTo>
                      <a:pt x="346" y="373"/>
                    </a:lnTo>
                    <a:lnTo>
                      <a:pt x="346" y="373"/>
                    </a:lnTo>
                    <a:lnTo>
                      <a:pt x="338" y="373"/>
                    </a:lnTo>
                    <a:lnTo>
                      <a:pt x="333" y="374"/>
                    </a:lnTo>
                    <a:lnTo>
                      <a:pt x="328" y="378"/>
                    </a:lnTo>
                    <a:lnTo>
                      <a:pt x="322" y="382"/>
                    </a:lnTo>
                    <a:lnTo>
                      <a:pt x="319" y="385"/>
                    </a:lnTo>
                    <a:lnTo>
                      <a:pt x="315" y="391"/>
                    </a:lnTo>
                    <a:lnTo>
                      <a:pt x="313" y="398"/>
                    </a:lnTo>
                    <a:lnTo>
                      <a:pt x="313" y="403"/>
                    </a:lnTo>
                    <a:lnTo>
                      <a:pt x="313" y="493"/>
                    </a:lnTo>
                    <a:lnTo>
                      <a:pt x="313" y="493"/>
                    </a:lnTo>
                    <a:lnTo>
                      <a:pt x="313" y="498"/>
                    </a:lnTo>
                    <a:lnTo>
                      <a:pt x="315" y="506"/>
                    </a:lnTo>
                    <a:lnTo>
                      <a:pt x="319" y="511"/>
                    </a:lnTo>
                    <a:lnTo>
                      <a:pt x="322" y="515"/>
                    </a:lnTo>
                    <a:lnTo>
                      <a:pt x="328" y="520"/>
                    </a:lnTo>
                    <a:lnTo>
                      <a:pt x="333" y="522"/>
                    </a:lnTo>
                    <a:lnTo>
                      <a:pt x="338" y="524"/>
                    </a:lnTo>
                    <a:lnTo>
                      <a:pt x="346" y="525"/>
                    </a:lnTo>
                    <a:lnTo>
                      <a:pt x="468" y="525"/>
                    </a:lnTo>
                    <a:lnTo>
                      <a:pt x="468" y="921"/>
                    </a:lnTo>
                    <a:lnTo>
                      <a:pt x="468" y="921"/>
                    </a:lnTo>
                    <a:lnTo>
                      <a:pt x="427" y="914"/>
                    </a:lnTo>
                    <a:lnTo>
                      <a:pt x="385" y="903"/>
                    </a:lnTo>
                    <a:lnTo>
                      <a:pt x="347" y="891"/>
                    </a:lnTo>
                    <a:lnTo>
                      <a:pt x="310" y="875"/>
                    </a:lnTo>
                    <a:lnTo>
                      <a:pt x="274" y="855"/>
                    </a:lnTo>
                    <a:lnTo>
                      <a:pt x="239" y="833"/>
                    </a:lnTo>
                    <a:lnTo>
                      <a:pt x="207" y="810"/>
                    </a:lnTo>
                    <a:lnTo>
                      <a:pt x="176" y="783"/>
                    </a:lnTo>
                    <a:lnTo>
                      <a:pt x="230" y="729"/>
                    </a:lnTo>
                    <a:lnTo>
                      <a:pt x="230" y="729"/>
                    </a:lnTo>
                    <a:lnTo>
                      <a:pt x="236" y="722"/>
                    </a:lnTo>
                    <a:lnTo>
                      <a:pt x="238" y="716"/>
                    </a:lnTo>
                    <a:lnTo>
                      <a:pt x="238" y="709"/>
                    </a:lnTo>
                    <a:lnTo>
                      <a:pt x="236" y="704"/>
                    </a:lnTo>
                    <a:lnTo>
                      <a:pt x="232" y="698"/>
                    </a:lnTo>
                    <a:lnTo>
                      <a:pt x="229" y="693"/>
                    </a:lnTo>
                    <a:lnTo>
                      <a:pt x="221" y="689"/>
                    </a:lnTo>
                    <a:lnTo>
                      <a:pt x="214" y="689"/>
                    </a:lnTo>
                    <a:lnTo>
                      <a:pt x="23" y="689"/>
                    </a:lnTo>
                    <a:lnTo>
                      <a:pt x="23" y="689"/>
                    </a:lnTo>
                    <a:lnTo>
                      <a:pt x="14" y="691"/>
                    </a:lnTo>
                    <a:lnTo>
                      <a:pt x="7" y="695"/>
                    </a:lnTo>
                    <a:lnTo>
                      <a:pt x="2" y="704"/>
                    </a:lnTo>
                    <a:lnTo>
                      <a:pt x="0" y="713"/>
                    </a:lnTo>
                    <a:lnTo>
                      <a:pt x="0" y="903"/>
                    </a:lnTo>
                    <a:lnTo>
                      <a:pt x="0" y="903"/>
                    </a:lnTo>
                    <a:lnTo>
                      <a:pt x="2" y="911"/>
                    </a:lnTo>
                    <a:lnTo>
                      <a:pt x="4" y="916"/>
                    </a:lnTo>
                    <a:lnTo>
                      <a:pt x="9" y="921"/>
                    </a:lnTo>
                    <a:lnTo>
                      <a:pt x="14" y="925"/>
                    </a:lnTo>
                    <a:lnTo>
                      <a:pt x="20" y="927"/>
                    </a:lnTo>
                    <a:lnTo>
                      <a:pt x="27" y="927"/>
                    </a:lnTo>
                    <a:lnTo>
                      <a:pt x="34" y="923"/>
                    </a:lnTo>
                    <a:lnTo>
                      <a:pt x="40" y="920"/>
                    </a:lnTo>
                    <a:lnTo>
                      <a:pt x="83" y="876"/>
                    </a:lnTo>
                    <a:lnTo>
                      <a:pt x="83" y="876"/>
                    </a:lnTo>
                    <a:lnTo>
                      <a:pt x="106" y="896"/>
                    </a:lnTo>
                    <a:lnTo>
                      <a:pt x="130" y="916"/>
                    </a:lnTo>
                    <a:lnTo>
                      <a:pt x="155" y="934"/>
                    </a:lnTo>
                    <a:lnTo>
                      <a:pt x="180" y="952"/>
                    </a:lnTo>
                    <a:lnTo>
                      <a:pt x="207" y="968"/>
                    </a:lnTo>
                    <a:lnTo>
                      <a:pt x="234" y="983"/>
                    </a:lnTo>
                    <a:lnTo>
                      <a:pt x="263" y="997"/>
                    </a:lnTo>
                    <a:lnTo>
                      <a:pt x="292" y="1010"/>
                    </a:lnTo>
                    <a:lnTo>
                      <a:pt x="320" y="1020"/>
                    </a:lnTo>
                    <a:lnTo>
                      <a:pt x="351" y="1029"/>
                    </a:lnTo>
                    <a:lnTo>
                      <a:pt x="382" y="1038"/>
                    </a:lnTo>
                    <a:lnTo>
                      <a:pt x="412" y="1046"/>
                    </a:lnTo>
                    <a:lnTo>
                      <a:pt x="443" y="1051"/>
                    </a:lnTo>
                    <a:lnTo>
                      <a:pt x="475" y="1055"/>
                    </a:lnTo>
                    <a:lnTo>
                      <a:pt x="508" y="1056"/>
                    </a:lnTo>
                    <a:lnTo>
                      <a:pt x="542" y="1058"/>
                    </a:lnTo>
                    <a:lnTo>
                      <a:pt x="542" y="1058"/>
                    </a:lnTo>
                    <a:lnTo>
                      <a:pt x="574" y="1056"/>
                    </a:lnTo>
                    <a:lnTo>
                      <a:pt x="607" y="1055"/>
                    </a:lnTo>
                    <a:lnTo>
                      <a:pt x="639" y="1051"/>
                    </a:lnTo>
                    <a:lnTo>
                      <a:pt x="671" y="1046"/>
                    </a:lnTo>
                    <a:lnTo>
                      <a:pt x="702" y="1038"/>
                    </a:lnTo>
                    <a:lnTo>
                      <a:pt x="733" y="1029"/>
                    </a:lnTo>
                    <a:lnTo>
                      <a:pt x="761" y="1020"/>
                    </a:lnTo>
                    <a:lnTo>
                      <a:pt x="792" y="1010"/>
                    </a:lnTo>
                    <a:lnTo>
                      <a:pt x="821" y="997"/>
                    </a:lnTo>
                    <a:lnTo>
                      <a:pt x="848" y="983"/>
                    </a:lnTo>
                    <a:lnTo>
                      <a:pt x="875" y="968"/>
                    </a:lnTo>
                    <a:lnTo>
                      <a:pt x="902" y="952"/>
                    </a:lnTo>
                    <a:lnTo>
                      <a:pt x="927" y="934"/>
                    </a:lnTo>
                    <a:lnTo>
                      <a:pt x="952" y="916"/>
                    </a:lnTo>
                    <a:lnTo>
                      <a:pt x="976" y="896"/>
                    </a:lnTo>
                    <a:lnTo>
                      <a:pt x="999" y="876"/>
                    </a:lnTo>
                    <a:lnTo>
                      <a:pt x="1042" y="920"/>
                    </a:lnTo>
                    <a:lnTo>
                      <a:pt x="1042" y="920"/>
                    </a:lnTo>
                    <a:lnTo>
                      <a:pt x="1049" y="923"/>
                    </a:lnTo>
                    <a:lnTo>
                      <a:pt x="1055" y="927"/>
                    </a:lnTo>
                    <a:lnTo>
                      <a:pt x="1062" y="927"/>
                    </a:lnTo>
                    <a:lnTo>
                      <a:pt x="1067" y="925"/>
                    </a:lnTo>
                    <a:lnTo>
                      <a:pt x="1075" y="921"/>
                    </a:lnTo>
                    <a:lnTo>
                      <a:pt x="1078" y="916"/>
                    </a:lnTo>
                    <a:lnTo>
                      <a:pt x="1082" y="911"/>
                    </a:lnTo>
                    <a:lnTo>
                      <a:pt x="1082" y="903"/>
                    </a:lnTo>
                    <a:lnTo>
                      <a:pt x="1082" y="713"/>
                    </a:lnTo>
                    <a:lnTo>
                      <a:pt x="1082" y="713"/>
                    </a:lnTo>
                    <a:lnTo>
                      <a:pt x="1080" y="704"/>
                    </a:lnTo>
                    <a:lnTo>
                      <a:pt x="1076" y="695"/>
                    </a:lnTo>
                    <a:lnTo>
                      <a:pt x="1069" y="691"/>
                    </a:lnTo>
                    <a:lnTo>
                      <a:pt x="1058" y="689"/>
                    </a:lnTo>
                    <a:lnTo>
                      <a:pt x="1058" y="689"/>
                    </a:lnTo>
                    <a:close/>
                    <a:moveTo>
                      <a:pt x="542" y="189"/>
                    </a:moveTo>
                    <a:lnTo>
                      <a:pt x="542" y="189"/>
                    </a:lnTo>
                    <a:lnTo>
                      <a:pt x="533" y="187"/>
                    </a:lnTo>
                    <a:lnTo>
                      <a:pt x="524" y="185"/>
                    </a:lnTo>
                    <a:lnTo>
                      <a:pt x="517" y="180"/>
                    </a:lnTo>
                    <a:lnTo>
                      <a:pt x="509" y="175"/>
                    </a:lnTo>
                    <a:lnTo>
                      <a:pt x="504" y="169"/>
                    </a:lnTo>
                    <a:lnTo>
                      <a:pt x="500" y="160"/>
                    </a:lnTo>
                    <a:lnTo>
                      <a:pt x="497" y="153"/>
                    </a:lnTo>
                    <a:lnTo>
                      <a:pt x="497" y="144"/>
                    </a:lnTo>
                    <a:lnTo>
                      <a:pt x="497" y="144"/>
                    </a:lnTo>
                    <a:lnTo>
                      <a:pt x="497" y="135"/>
                    </a:lnTo>
                    <a:lnTo>
                      <a:pt x="500" y="126"/>
                    </a:lnTo>
                    <a:lnTo>
                      <a:pt x="504" y="119"/>
                    </a:lnTo>
                    <a:lnTo>
                      <a:pt x="509" y="112"/>
                    </a:lnTo>
                    <a:lnTo>
                      <a:pt x="517" y="106"/>
                    </a:lnTo>
                    <a:lnTo>
                      <a:pt x="524" y="103"/>
                    </a:lnTo>
                    <a:lnTo>
                      <a:pt x="533" y="99"/>
                    </a:lnTo>
                    <a:lnTo>
                      <a:pt x="542" y="99"/>
                    </a:lnTo>
                    <a:lnTo>
                      <a:pt x="542" y="99"/>
                    </a:lnTo>
                    <a:lnTo>
                      <a:pt x="551" y="99"/>
                    </a:lnTo>
                    <a:lnTo>
                      <a:pt x="558" y="103"/>
                    </a:lnTo>
                    <a:lnTo>
                      <a:pt x="567" y="106"/>
                    </a:lnTo>
                    <a:lnTo>
                      <a:pt x="572" y="112"/>
                    </a:lnTo>
                    <a:lnTo>
                      <a:pt x="578" y="119"/>
                    </a:lnTo>
                    <a:lnTo>
                      <a:pt x="583" y="126"/>
                    </a:lnTo>
                    <a:lnTo>
                      <a:pt x="585" y="135"/>
                    </a:lnTo>
                    <a:lnTo>
                      <a:pt x="587" y="144"/>
                    </a:lnTo>
                    <a:lnTo>
                      <a:pt x="587" y="144"/>
                    </a:lnTo>
                    <a:lnTo>
                      <a:pt x="585" y="153"/>
                    </a:lnTo>
                    <a:lnTo>
                      <a:pt x="583" y="160"/>
                    </a:lnTo>
                    <a:lnTo>
                      <a:pt x="578" y="169"/>
                    </a:lnTo>
                    <a:lnTo>
                      <a:pt x="572" y="175"/>
                    </a:lnTo>
                    <a:lnTo>
                      <a:pt x="567" y="180"/>
                    </a:lnTo>
                    <a:lnTo>
                      <a:pt x="558" y="185"/>
                    </a:lnTo>
                    <a:lnTo>
                      <a:pt x="551" y="187"/>
                    </a:lnTo>
                    <a:lnTo>
                      <a:pt x="542" y="189"/>
                    </a:lnTo>
                    <a:lnTo>
                      <a:pt x="542" y="189"/>
                    </a:lnTo>
                    <a:close/>
                  </a:path>
                </a:pathLst>
              </a:custGeom>
              <a:solidFill>
                <a:schemeClr val="bg1"/>
              </a:solidFill>
              <a:ln>
                <a:noFill/>
              </a:ln>
            </p:spPr>
            <p:txBody>
              <a:bodyPr vert="horz" wrap="square" lIns="91440" tIns="45720" rIns="91440" bIns="45720" numCol="1" anchor="t" anchorCtr="0" compatLnSpc="1"/>
              <a:lstStyle/>
              <a:p>
                <a:endParaRPr lang="zh-CN" altLang="en-US" sz="2400">
                  <a:solidFill>
                    <a:schemeClr val="tx1">
                      <a:lumMod val="75000"/>
                      <a:lumOff val="2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3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4" name="组合 3"/>
          <p:cNvGrpSpPr/>
          <p:nvPr/>
        </p:nvGrpSpPr>
        <p:grpSpPr>
          <a:xfrm>
            <a:off x="3845560" y="584836"/>
            <a:ext cx="4501515" cy="763138"/>
            <a:chOff x="-214879" y="1137968"/>
            <a:chExt cx="8607213" cy="763094"/>
          </a:xfrm>
        </p:grpSpPr>
        <p:sp>
          <p:nvSpPr>
            <p:cNvPr id="3" name="文本框 2"/>
            <p:cNvSpPr txBox="1"/>
            <p:nvPr/>
          </p:nvSpPr>
          <p:spPr>
            <a:xfrm>
              <a:off x="1679218" y="1137968"/>
              <a:ext cx="4817805" cy="457173"/>
            </a:xfrm>
            <a:prstGeom prst="rect">
              <a:avLst/>
            </a:prstGeom>
            <a:noFill/>
          </p:spPr>
          <p:txBody>
            <a:bodyPr wrap="square" rtlCol="0">
              <a:normAutofit lnSpcReduction="10000"/>
            </a:bodyPr>
            <a:lstStyle/>
            <a:p>
              <a:pPr algn="ctr"/>
              <a:r>
                <a:rPr lang="vi-VN" altLang="vi-VN" sz="2400">
                  <a:solidFill>
                    <a:srgbClr val="004195"/>
                  </a:solidFill>
                  <a:latin typeface="Noto Sans"/>
                  <a:ea typeface="Noto Sans"/>
                  <a:cs typeface="+mn-ea"/>
                  <a:sym typeface="Source Han Serif SC" panose="02020700000000000000" pitchFamily="18" charset="-122"/>
                </a:rPr>
                <a:t>Lập kế hoạch</a:t>
              </a:r>
            </a:p>
          </p:txBody>
        </p:sp>
        <p:sp>
          <p:nvSpPr>
            <p:cNvPr id="15" name="文本框 14"/>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sp>
        <p:nvSpPr>
          <p:cNvPr id="6" name="矩形 5"/>
          <p:cNvSpPr/>
          <p:nvPr/>
        </p:nvSpPr>
        <p:spPr>
          <a:xfrm>
            <a:off x="606425" y="1796415"/>
            <a:ext cx="11184255" cy="2372995"/>
          </a:xfrm>
          <a:prstGeom prst="rect">
            <a:avLst/>
          </a:prstGeom>
          <a:solidFill>
            <a:srgbClr val="0067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矩形 6"/>
          <p:cNvSpPr/>
          <p:nvPr/>
        </p:nvSpPr>
        <p:spPr>
          <a:xfrm>
            <a:off x="863600" y="2510155"/>
            <a:ext cx="4445000" cy="2941320"/>
          </a:xfrm>
          <a:prstGeom prst="rect">
            <a:avLst/>
          </a:prstGeom>
          <a:blipFill rotWithShape="1">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7" name="文本框 16"/>
          <p:cNvSpPr txBox="1"/>
          <p:nvPr/>
        </p:nvSpPr>
        <p:spPr>
          <a:xfrm>
            <a:off x="5835016" y="2704465"/>
            <a:ext cx="5409565" cy="822960"/>
          </a:xfrm>
          <a:prstGeom prst="rect">
            <a:avLst/>
          </a:prstGeom>
          <a:noFill/>
        </p:spPr>
        <p:txBody>
          <a:bodyPr wrap="square" rtlCol="0">
            <a:normAutofit/>
          </a:bodyPr>
          <a:lstStyle/>
          <a:p>
            <a:pPr algn="l">
              <a:lnSpc>
                <a:spcPct val="100000"/>
              </a:lnSpc>
              <a:spcBef>
                <a:spcPct val="0"/>
              </a:spcBef>
              <a:spcAft>
                <a:spcPct val="0"/>
              </a:spcAft>
            </a:pPr>
            <a:r>
              <a:rPr lang="vi-VN" altLang="vi-VN" sz="1600">
                <a:solidFill>
                  <a:schemeClr val="bg1"/>
                </a:solidFill>
                <a:latin typeface="Noto Sans"/>
                <a:ea typeface="Noto Sans"/>
                <a:cs typeface="+mn-ea"/>
                <a:sym typeface="Source Han Serif SC" panose="02020700000000000000" pitchFamily="18" charset="-122"/>
              </a:rPr>
              <a:t>Thêm nội dung văn bản chi tiết vào đây, nên phù hợp với tiêu đề và nhất quán với phong cách ngôn ngữ tổng thể. Thêm nội dung văn bản chi tiết vào đây</a:t>
            </a:r>
          </a:p>
        </p:txBody>
      </p:sp>
      <p:sp>
        <p:nvSpPr>
          <p:cNvPr id="8" name="文本框 7"/>
          <p:cNvSpPr txBox="1"/>
          <p:nvPr/>
        </p:nvSpPr>
        <p:spPr>
          <a:xfrm>
            <a:off x="5835015" y="2240280"/>
            <a:ext cx="2540000" cy="472440"/>
          </a:xfrm>
          <a:prstGeom prst="rect">
            <a:avLst/>
          </a:prstGeom>
          <a:noFill/>
        </p:spPr>
        <p:txBody>
          <a:bodyPr wrap="square" rtlCol="0">
            <a:normAutofit/>
          </a:bodyPr>
          <a:lstStyle/>
          <a:p>
            <a:pPr algn="l"/>
            <a:r>
              <a:rPr lang="vi-VN" altLang="vi-VN" sz="2500" b="1">
                <a:solidFill>
                  <a:schemeClr val="bg1"/>
                </a:solidFill>
                <a:latin typeface="Noto Sans"/>
                <a:ea typeface="Noto Sans"/>
                <a:cs typeface="+mn-ea"/>
                <a:sym typeface="Source Han Serif SC" panose="02020700000000000000" pitchFamily="18" charset="-122"/>
              </a:rPr>
              <a:t>Bấm để thêm</a:t>
            </a:r>
          </a:p>
        </p:txBody>
      </p:sp>
      <p:grpSp>
        <p:nvGrpSpPr>
          <p:cNvPr id="9" name="组合 8"/>
          <p:cNvGrpSpPr/>
          <p:nvPr/>
        </p:nvGrpSpPr>
        <p:grpSpPr>
          <a:xfrm>
            <a:off x="8716008" y="4486275"/>
            <a:ext cx="2299970" cy="1424943"/>
            <a:chOff x="13821" y="6672"/>
            <a:chExt cx="3622" cy="2244"/>
          </a:xfrm>
        </p:grpSpPr>
        <p:sp>
          <p:nvSpPr>
            <p:cNvPr id="10" name="圆角矩形 9"/>
            <p:cNvSpPr/>
            <p:nvPr/>
          </p:nvSpPr>
          <p:spPr>
            <a:xfrm>
              <a:off x="13952" y="6672"/>
              <a:ext cx="3360" cy="721"/>
            </a:xfrm>
            <a:prstGeom prst="roundRect">
              <a:avLst>
                <a:gd name="adj" fmla="val 50000"/>
              </a:avLst>
            </a:prstGeom>
            <a:noFill/>
            <a:ln>
              <a:solidFill>
                <a:srgbClr val="0067CC"/>
              </a:solid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fontScale="87500"/>
            </a:bodyPr>
            <a:lstStyle/>
            <a:p>
              <a:pPr algn="ctr"/>
              <a:r>
                <a:rPr lang="vi-VN" altLang="vi-VN" sz="1800" b="1">
                  <a:solidFill>
                    <a:schemeClr val="tx1">
                      <a:lumMod val="75000"/>
                      <a:lumOff val="25000"/>
                    </a:schemeClr>
                  </a:solidFill>
                  <a:latin typeface="Noto Sans"/>
                  <a:ea typeface="Noto Sans"/>
                  <a:cs typeface="+mn-ea"/>
                  <a:sym typeface="Source Han Serif SC" panose="02020700000000000000" pitchFamily="18" charset="-122"/>
                </a:rPr>
                <a:t>Bấm để thêm</a:t>
              </a:r>
            </a:p>
          </p:txBody>
        </p:sp>
        <p:sp>
          <p:nvSpPr>
            <p:cNvPr id="11" name="文本框 10"/>
            <p:cNvSpPr txBox="1"/>
            <p:nvPr/>
          </p:nvSpPr>
          <p:spPr>
            <a:xfrm>
              <a:off x="13821" y="7620"/>
              <a:ext cx="3622" cy="1296"/>
            </a:xfrm>
            <a:prstGeom prst="rect">
              <a:avLst/>
            </a:prstGeom>
            <a:noFill/>
          </p:spPr>
          <p:txBody>
            <a:bodyPr wrap="square" rtlCol="0">
              <a:normAutofit/>
            </a:bodyPr>
            <a:lstStyle/>
            <a:p>
              <a:pPr algn="l">
                <a:lnSpc>
                  <a:spcPct val="100000"/>
                </a:lnSpc>
                <a:spcBef>
                  <a:spcPct val="0"/>
                </a:spcBef>
                <a:spcAft>
                  <a:spcPct val="0"/>
                </a:spcAft>
              </a:pPr>
              <a:r>
                <a:rPr lang="vi-VN" altLang="vi-VN" sz="1600">
                  <a:solidFill>
                    <a:schemeClr val="tx1">
                      <a:lumMod val="75000"/>
                      <a:lumOff val="25000"/>
                    </a:schemeClr>
                  </a:solidFill>
                  <a:latin typeface="Noto Sans"/>
                  <a:ea typeface="Noto Sans"/>
                  <a:cs typeface="+mn-ea"/>
                  <a:sym typeface="Source Han Serif SC" panose="02020700000000000000" pitchFamily="18" charset="-122"/>
                </a:rPr>
                <a:t>Thêm nội dung văn bản chi tiết vào đây, nên phù hợp với tiêu</a:t>
              </a:r>
            </a:p>
          </p:txBody>
        </p:sp>
      </p:grpSp>
      <p:grpSp>
        <p:nvGrpSpPr>
          <p:cNvPr id="12" name="组合 11"/>
          <p:cNvGrpSpPr/>
          <p:nvPr/>
        </p:nvGrpSpPr>
        <p:grpSpPr>
          <a:xfrm>
            <a:off x="5908674" y="4486275"/>
            <a:ext cx="2299969" cy="1424943"/>
            <a:chOff x="13821" y="6672"/>
            <a:chExt cx="3622" cy="2244"/>
          </a:xfrm>
        </p:grpSpPr>
        <p:sp>
          <p:nvSpPr>
            <p:cNvPr id="13" name="圆角矩形 12"/>
            <p:cNvSpPr/>
            <p:nvPr/>
          </p:nvSpPr>
          <p:spPr>
            <a:xfrm>
              <a:off x="13974" y="6672"/>
              <a:ext cx="3360" cy="721"/>
            </a:xfrm>
            <a:prstGeom prst="roundRect">
              <a:avLst>
                <a:gd name="adj" fmla="val 50000"/>
              </a:avLst>
            </a:prstGeom>
            <a:noFill/>
            <a:ln>
              <a:solidFill>
                <a:srgbClr val="004195"/>
              </a:solid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fontScale="87500"/>
            </a:bodyPr>
            <a:lstStyle/>
            <a:p>
              <a:pPr algn="ctr"/>
              <a:r>
                <a:rPr lang="vi-VN" altLang="vi-VN" sz="1800" b="1">
                  <a:solidFill>
                    <a:schemeClr val="tx1">
                      <a:lumMod val="75000"/>
                      <a:lumOff val="25000"/>
                    </a:schemeClr>
                  </a:solidFill>
                  <a:latin typeface="Noto Sans"/>
                  <a:ea typeface="Noto Sans"/>
                  <a:cs typeface="+mn-ea"/>
                  <a:sym typeface="Source Han Serif SC" panose="02020700000000000000" pitchFamily="18" charset="-122"/>
                </a:rPr>
                <a:t>Bấm để thêm</a:t>
              </a:r>
            </a:p>
          </p:txBody>
        </p:sp>
        <p:sp>
          <p:nvSpPr>
            <p:cNvPr id="14" name="文本框 13"/>
            <p:cNvSpPr txBox="1"/>
            <p:nvPr/>
          </p:nvSpPr>
          <p:spPr>
            <a:xfrm>
              <a:off x="13821" y="7620"/>
              <a:ext cx="3622" cy="1296"/>
            </a:xfrm>
            <a:prstGeom prst="rect">
              <a:avLst/>
            </a:prstGeom>
            <a:noFill/>
          </p:spPr>
          <p:txBody>
            <a:bodyPr wrap="square" rtlCol="0">
              <a:normAutofit/>
            </a:bodyPr>
            <a:lstStyle/>
            <a:p>
              <a:pPr algn="l">
                <a:lnSpc>
                  <a:spcPct val="100000"/>
                </a:lnSpc>
                <a:spcBef>
                  <a:spcPct val="0"/>
                </a:spcBef>
                <a:spcAft>
                  <a:spcPct val="0"/>
                </a:spcAft>
              </a:pPr>
              <a:r>
                <a:rPr lang="vi-VN" altLang="vi-VN" sz="1600">
                  <a:solidFill>
                    <a:schemeClr val="tx1">
                      <a:lumMod val="75000"/>
                      <a:lumOff val="25000"/>
                    </a:schemeClr>
                  </a:solidFill>
                  <a:latin typeface="Noto Sans"/>
                  <a:ea typeface="Noto Sans"/>
                  <a:cs typeface="+mn-ea"/>
                  <a:sym typeface="Source Han Serif SC" panose="02020700000000000000" pitchFamily="18" charset="-122"/>
                </a:rPr>
                <a:t>Thêm nội dung văn bản chi tiết vào đây, nên phù hợp với tiêu</a:t>
              </a:r>
            </a:p>
          </p:txBody>
        </p:sp>
      </p:gr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圆角矩形 33"/>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35" name="组合 34"/>
          <p:cNvGrpSpPr/>
          <p:nvPr/>
        </p:nvGrpSpPr>
        <p:grpSpPr>
          <a:xfrm>
            <a:off x="3845560" y="584836"/>
            <a:ext cx="4501515" cy="763138"/>
            <a:chOff x="-214879" y="1137968"/>
            <a:chExt cx="8607213" cy="763094"/>
          </a:xfrm>
        </p:grpSpPr>
        <p:sp>
          <p:nvSpPr>
            <p:cNvPr id="36" name="文本框 35"/>
            <p:cNvSpPr txBox="1"/>
            <p:nvPr/>
          </p:nvSpPr>
          <p:spPr>
            <a:xfrm>
              <a:off x="1679218" y="1137968"/>
              <a:ext cx="4817805" cy="457173"/>
            </a:xfrm>
            <a:prstGeom prst="rect">
              <a:avLst/>
            </a:prstGeom>
            <a:noFill/>
          </p:spPr>
          <p:txBody>
            <a:bodyPr wrap="square" rtlCol="0">
              <a:normAutofit lnSpcReduction="10000"/>
            </a:bodyPr>
            <a:lstStyle/>
            <a:p>
              <a:pPr algn="ctr"/>
              <a:r>
                <a:rPr lang="vi-VN" altLang="vi-VN" sz="2400">
                  <a:solidFill>
                    <a:srgbClr val="004195"/>
                  </a:solidFill>
                  <a:latin typeface="Noto Sans"/>
                  <a:ea typeface="Noto Sans"/>
                  <a:cs typeface="+mn-ea"/>
                  <a:sym typeface="Source Han Serif SC" panose="02020700000000000000" pitchFamily="18" charset="-122"/>
                </a:rPr>
                <a:t>Lập kế hoạch</a:t>
              </a:r>
            </a:p>
          </p:txBody>
        </p:sp>
        <p:sp>
          <p:nvSpPr>
            <p:cNvPr id="37" name="文本框 36"/>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grpSp>
        <p:nvGrpSpPr>
          <p:cNvPr id="43" name="组合 42"/>
          <p:cNvGrpSpPr/>
          <p:nvPr/>
        </p:nvGrpSpPr>
        <p:grpSpPr>
          <a:xfrm>
            <a:off x="1304288" y="1990089"/>
            <a:ext cx="9631042" cy="3661794"/>
            <a:chOff x="2004" y="3845"/>
            <a:chExt cx="15167" cy="5767"/>
          </a:xfrm>
        </p:grpSpPr>
        <p:sp>
          <p:nvSpPr>
            <p:cNvPr id="2" name="Oval 115"/>
            <p:cNvSpPr>
              <a:spLocks noChangeArrowheads="1"/>
            </p:cNvSpPr>
            <p:nvPr/>
          </p:nvSpPr>
          <p:spPr bwMode="gray">
            <a:xfrm>
              <a:off x="11777" y="4263"/>
              <a:ext cx="1414" cy="1415"/>
            </a:xfrm>
            <a:prstGeom prst="ellipse">
              <a:avLst/>
            </a:prstGeom>
            <a:solidFill>
              <a:srgbClr val="0067CC"/>
            </a:solidFill>
            <a:ln>
              <a:noFill/>
            </a:ln>
            <a:effectLst/>
          </p:spPr>
          <p:txBody>
            <a:bodyPr vert="eaVert" wrap="none" anchor="ct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3" name="AutoShape 119"/>
            <p:cNvSpPr>
              <a:spLocks noChangeArrowheads="1"/>
            </p:cNvSpPr>
            <p:nvPr/>
          </p:nvSpPr>
          <p:spPr bwMode="gray">
            <a:xfrm rot="10800000">
              <a:off x="10930" y="4703"/>
              <a:ext cx="642" cy="481"/>
            </a:xfrm>
            <a:prstGeom prst="leftArrow">
              <a:avLst>
                <a:gd name="adj1" fmla="val 31250"/>
                <a:gd name="adj2" fmla="val 71531"/>
              </a:avLst>
            </a:prstGeom>
            <a:solidFill>
              <a:srgbClr val="004195">
                <a:alpha val="51000"/>
              </a:srgbClr>
            </a:solidFill>
            <a:ln>
              <a:noFill/>
            </a:ln>
            <a:effectLst/>
          </p:spPr>
          <p:txBody>
            <a:bodyPr wrap="none" anchor="ct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 name="AutoShape 120"/>
            <p:cNvSpPr>
              <a:spLocks noChangeArrowheads="1"/>
            </p:cNvSpPr>
            <p:nvPr/>
          </p:nvSpPr>
          <p:spPr bwMode="gray">
            <a:xfrm rot="17914860">
              <a:off x="8524" y="6066"/>
              <a:ext cx="642" cy="481"/>
            </a:xfrm>
            <a:prstGeom prst="leftArrow">
              <a:avLst>
                <a:gd name="adj1" fmla="val 31250"/>
                <a:gd name="adj2" fmla="val 71531"/>
              </a:avLst>
            </a:prstGeom>
            <a:solidFill>
              <a:srgbClr val="004195">
                <a:alpha val="51000"/>
              </a:srgbClr>
            </a:solidFill>
            <a:ln>
              <a:noFill/>
            </a:ln>
            <a:effectLst/>
          </p:spPr>
          <p:txBody>
            <a:bodyPr wrap="none" anchor="ct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5" name="AutoShape 121"/>
            <p:cNvSpPr>
              <a:spLocks noChangeArrowheads="1"/>
            </p:cNvSpPr>
            <p:nvPr/>
          </p:nvSpPr>
          <p:spPr bwMode="gray">
            <a:xfrm>
              <a:off x="7802" y="4703"/>
              <a:ext cx="642" cy="481"/>
            </a:xfrm>
            <a:prstGeom prst="leftArrow">
              <a:avLst>
                <a:gd name="adj1" fmla="val 31250"/>
                <a:gd name="adj2" fmla="val 71531"/>
              </a:avLst>
            </a:prstGeom>
            <a:solidFill>
              <a:srgbClr val="004195">
                <a:alpha val="51000"/>
              </a:srgbClr>
            </a:solidFill>
            <a:ln>
              <a:noFill/>
            </a:ln>
            <a:effectLst/>
          </p:spPr>
          <p:txBody>
            <a:bodyPr wrap="none" anchor="ct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6" name="AutoShape 122"/>
            <p:cNvSpPr>
              <a:spLocks noChangeArrowheads="1"/>
            </p:cNvSpPr>
            <p:nvPr/>
          </p:nvSpPr>
          <p:spPr bwMode="gray">
            <a:xfrm rot="13815450">
              <a:off x="10208" y="6066"/>
              <a:ext cx="642" cy="481"/>
            </a:xfrm>
            <a:prstGeom prst="leftArrow">
              <a:avLst>
                <a:gd name="adj1" fmla="val 31250"/>
                <a:gd name="adj2" fmla="val 71531"/>
              </a:avLst>
            </a:prstGeom>
            <a:solidFill>
              <a:srgbClr val="004195">
                <a:alpha val="51000"/>
              </a:srgbClr>
            </a:solidFill>
            <a:ln>
              <a:noFill/>
            </a:ln>
            <a:effectLst/>
          </p:spPr>
          <p:txBody>
            <a:bodyPr wrap="none" anchor="ct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Oval 115"/>
            <p:cNvSpPr>
              <a:spLocks noChangeArrowheads="1"/>
            </p:cNvSpPr>
            <p:nvPr/>
          </p:nvSpPr>
          <p:spPr bwMode="gray">
            <a:xfrm>
              <a:off x="6152" y="4263"/>
              <a:ext cx="1414" cy="1415"/>
            </a:xfrm>
            <a:prstGeom prst="ellipse">
              <a:avLst/>
            </a:prstGeom>
            <a:solidFill>
              <a:srgbClr val="0067CC"/>
            </a:solidFill>
            <a:ln>
              <a:noFill/>
            </a:ln>
            <a:effectLst/>
          </p:spPr>
          <p:txBody>
            <a:bodyPr vert="eaVert" wrap="none" anchor="ct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 name="Oval 115"/>
            <p:cNvSpPr>
              <a:spLocks noChangeArrowheads="1"/>
            </p:cNvSpPr>
            <p:nvPr/>
          </p:nvSpPr>
          <p:spPr bwMode="gray">
            <a:xfrm>
              <a:off x="7526" y="6589"/>
              <a:ext cx="1414" cy="1415"/>
            </a:xfrm>
            <a:prstGeom prst="ellipse">
              <a:avLst/>
            </a:prstGeom>
            <a:solidFill>
              <a:srgbClr val="004195"/>
            </a:solidFill>
            <a:ln>
              <a:noFill/>
            </a:ln>
            <a:effectLst/>
          </p:spPr>
          <p:txBody>
            <a:bodyPr vert="eaVert" wrap="none" anchor="ct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9" name="Oval 115"/>
            <p:cNvSpPr>
              <a:spLocks noChangeArrowheads="1"/>
            </p:cNvSpPr>
            <p:nvPr/>
          </p:nvSpPr>
          <p:spPr bwMode="gray">
            <a:xfrm>
              <a:off x="10313" y="6589"/>
              <a:ext cx="1414" cy="1415"/>
            </a:xfrm>
            <a:prstGeom prst="ellipse">
              <a:avLst/>
            </a:prstGeom>
            <a:solidFill>
              <a:srgbClr val="004195"/>
            </a:solidFill>
            <a:ln>
              <a:noFill/>
            </a:ln>
            <a:effectLst/>
          </p:spPr>
          <p:txBody>
            <a:bodyPr vert="eaVert" wrap="none" anchor="ct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10" name="Group 21"/>
            <p:cNvGrpSpPr/>
            <p:nvPr/>
          </p:nvGrpSpPr>
          <p:grpSpPr>
            <a:xfrm>
              <a:off x="8579" y="3845"/>
              <a:ext cx="2185" cy="2179"/>
              <a:chOff x="5305044" y="2140186"/>
              <a:chExt cx="1581912" cy="1577486"/>
            </a:xfrm>
          </p:grpSpPr>
          <p:sp>
            <p:nvSpPr>
              <p:cNvPr id="11" name="Oval 115"/>
              <p:cNvSpPr>
                <a:spLocks noChangeArrowheads="1"/>
              </p:cNvSpPr>
              <p:nvPr/>
            </p:nvSpPr>
            <p:spPr bwMode="gray">
              <a:xfrm>
                <a:off x="5305044" y="2140186"/>
                <a:ext cx="1581912" cy="1577486"/>
              </a:xfrm>
              <a:prstGeom prst="ellipse">
                <a:avLst/>
              </a:prstGeom>
              <a:solidFill>
                <a:srgbClr val="0067CC"/>
              </a:solidFill>
              <a:ln>
                <a:noFill/>
              </a:ln>
              <a:effectLst/>
            </p:spPr>
            <p:txBody>
              <a:bodyPr vert="eaVert" wrap="none" anchor="ct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2" name="Oval 115"/>
              <p:cNvSpPr>
                <a:spLocks noChangeArrowheads="1"/>
              </p:cNvSpPr>
              <p:nvPr/>
            </p:nvSpPr>
            <p:spPr bwMode="gray">
              <a:xfrm>
                <a:off x="5392254" y="2227152"/>
                <a:ext cx="1407492" cy="1403554"/>
              </a:xfrm>
              <a:prstGeom prst="ellipse">
                <a:avLst/>
              </a:prstGeom>
              <a:solidFill>
                <a:srgbClr val="FFFFFF"/>
              </a:solidFill>
              <a:ln>
                <a:noFill/>
              </a:ln>
              <a:effectLst/>
            </p:spPr>
            <p:txBody>
              <a:bodyPr vert="eaVert" wrap="none" anchor="ct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nvGrpSpPr>
            <p:cNvPr id="13" name="Group 24"/>
            <p:cNvGrpSpPr/>
            <p:nvPr/>
          </p:nvGrpSpPr>
          <p:grpSpPr>
            <a:xfrm>
              <a:off x="9243" y="4373"/>
              <a:ext cx="857" cy="1140"/>
              <a:chOff x="4497388" y="4225925"/>
              <a:chExt cx="428625" cy="569913"/>
            </a:xfrm>
            <a:solidFill>
              <a:srgbClr val="D3806E"/>
            </a:solidFill>
          </p:grpSpPr>
          <p:sp>
            <p:nvSpPr>
              <p:cNvPr id="14" name="Freeform 69"/>
              <p:cNvSpPr>
                <a:spLocks noEditPoints="1"/>
              </p:cNvSpPr>
              <p:nvPr/>
            </p:nvSpPr>
            <p:spPr bwMode="auto">
              <a:xfrm>
                <a:off x="4497388" y="4225925"/>
                <a:ext cx="428625" cy="569913"/>
              </a:xfrm>
              <a:custGeom>
                <a:avLst/>
                <a:gdLst>
                  <a:gd name="T0" fmla="*/ 1149 w 2697"/>
                  <a:gd name="T1" fmla="*/ 3077 h 3590"/>
                  <a:gd name="T2" fmla="*/ 1217 w 2697"/>
                  <a:gd name="T3" fmla="*/ 3131 h 3590"/>
                  <a:gd name="T4" fmla="*/ 1469 w 2697"/>
                  <a:gd name="T5" fmla="*/ 3385 h 3590"/>
                  <a:gd name="T6" fmla="*/ 1492 w 2697"/>
                  <a:gd name="T7" fmla="*/ 3112 h 3590"/>
                  <a:gd name="T8" fmla="*/ 1572 w 2697"/>
                  <a:gd name="T9" fmla="*/ 3074 h 3590"/>
                  <a:gd name="T10" fmla="*/ 1348 w 2697"/>
                  <a:gd name="T11" fmla="*/ 0 h 3590"/>
                  <a:gd name="T12" fmla="*/ 1721 w 2697"/>
                  <a:gd name="T13" fmla="*/ 52 h 3590"/>
                  <a:gd name="T14" fmla="*/ 2054 w 2697"/>
                  <a:gd name="T15" fmla="*/ 200 h 3590"/>
                  <a:gd name="T16" fmla="*/ 2332 w 2697"/>
                  <a:gd name="T17" fmla="*/ 429 h 3590"/>
                  <a:gd name="T18" fmla="*/ 2541 w 2697"/>
                  <a:gd name="T19" fmla="*/ 722 h 3590"/>
                  <a:gd name="T20" fmla="*/ 2666 w 2697"/>
                  <a:gd name="T21" fmla="*/ 1067 h 3590"/>
                  <a:gd name="T22" fmla="*/ 2693 w 2697"/>
                  <a:gd name="T23" fmla="*/ 1440 h 3590"/>
                  <a:gd name="T24" fmla="*/ 2624 w 2697"/>
                  <a:gd name="T25" fmla="*/ 1787 h 3590"/>
                  <a:gd name="T26" fmla="*/ 2469 w 2697"/>
                  <a:gd name="T27" fmla="*/ 2103 h 3590"/>
                  <a:gd name="T28" fmla="*/ 2233 w 2697"/>
                  <a:gd name="T29" fmla="*/ 2369 h 3590"/>
                  <a:gd name="T30" fmla="*/ 2148 w 2697"/>
                  <a:gd name="T31" fmla="*/ 2393 h 3590"/>
                  <a:gd name="T32" fmla="*/ 2076 w 2697"/>
                  <a:gd name="T33" fmla="*/ 2340 h 3590"/>
                  <a:gd name="T34" fmla="*/ 2072 w 2697"/>
                  <a:gd name="T35" fmla="*/ 2253 h 3590"/>
                  <a:gd name="T36" fmla="*/ 2215 w 2697"/>
                  <a:gd name="T37" fmla="*/ 2099 h 3590"/>
                  <a:gd name="T38" fmla="*/ 2389 w 2697"/>
                  <a:gd name="T39" fmla="*/ 1825 h 3590"/>
                  <a:gd name="T40" fmla="*/ 2480 w 2697"/>
                  <a:gd name="T41" fmla="*/ 1514 h 3590"/>
                  <a:gd name="T42" fmla="*/ 2478 w 2697"/>
                  <a:gd name="T43" fmla="*/ 1174 h 3590"/>
                  <a:gd name="T44" fmla="*/ 2375 w 2697"/>
                  <a:gd name="T45" fmla="*/ 847 h 3590"/>
                  <a:gd name="T46" fmla="*/ 2185 w 2697"/>
                  <a:gd name="T47" fmla="*/ 571 h 3590"/>
                  <a:gd name="T48" fmla="*/ 1925 w 2697"/>
                  <a:gd name="T49" fmla="*/ 361 h 3590"/>
                  <a:gd name="T50" fmla="*/ 1610 w 2697"/>
                  <a:gd name="T51" fmla="*/ 235 h 3590"/>
                  <a:gd name="T52" fmla="*/ 1259 w 2697"/>
                  <a:gd name="T53" fmla="*/ 209 h 3590"/>
                  <a:gd name="T54" fmla="*/ 923 w 2697"/>
                  <a:gd name="T55" fmla="*/ 287 h 3590"/>
                  <a:gd name="T56" fmla="*/ 633 w 2697"/>
                  <a:gd name="T57" fmla="*/ 457 h 3590"/>
                  <a:gd name="T58" fmla="*/ 406 w 2697"/>
                  <a:gd name="T59" fmla="*/ 702 h 3590"/>
                  <a:gd name="T60" fmla="*/ 257 w 2697"/>
                  <a:gd name="T61" fmla="*/ 1005 h 3590"/>
                  <a:gd name="T62" fmla="*/ 204 w 2697"/>
                  <a:gd name="T63" fmla="*/ 1351 h 3590"/>
                  <a:gd name="T64" fmla="*/ 250 w 2697"/>
                  <a:gd name="T65" fmla="*/ 1670 h 3590"/>
                  <a:gd name="T66" fmla="*/ 378 w 2697"/>
                  <a:gd name="T67" fmla="*/ 1957 h 3590"/>
                  <a:gd name="T68" fmla="*/ 577 w 2697"/>
                  <a:gd name="T69" fmla="*/ 2199 h 3590"/>
                  <a:gd name="T70" fmla="*/ 838 w 2697"/>
                  <a:gd name="T71" fmla="*/ 2377 h 3590"/>
                  <a:gd name="T72" fmla="*/ 1026 w 2697"/>
                  <a:gd name="T73" fmla="*/ 2461 h 3590"/>
                  <a:gd name="T74" fmla="*/ 1060 w 2697"/>
                  <a:gd name="T75" fmla="*/ 2537 h 3590"/>
                  <a:gd name="T76" fmla="*/ 1640 w 2697"/>
                  <a:gd name="T77" fmla="*/ 2513 h 3590"/>
                  <a:gd name="T78" fmla="*/ 1695 w 2697"/>
                  <a:gd name="T79" fmla="*/ 2444 h 3590"/>
                  <a:gd name="T80" fmla="*/ 1785 w 2697"/>
                  <a:gd name="T81" fmla="*/ 2444 h 3590"/>
                  <a:gd name="T82" fmla="*/ 1839 w 2697"/>
                  <a:gd name="T83" fmla="*/ 2513 h 3590"/>
                  <a:gd name="T84" fmla="*/ 1831 w 2697"/>
                  <a:gd name="T85" fmla="*/ 3221 h 3590"/>
                  <a:gd name="T86" fmla="*/ 1763 w 2697"/>
                  <a:gd name="T87" fmla="*/ 3277 h 3590"/>
                  <a:gd name="T88" fmla="*/ 1671 w 2697"/>
                  <a:gd name="T89" fmla="*/ 3511 h 3590"/>
                  <a:gd name="T90" fmla="*/ 1616 w 2697"/>
                  <a:gd name="T91" fmla="*/ 3579 h 3590"/>
                  <a:gd name="T92" fmla="*/ 1102 w 2697"/>
                  <a:gd name="T93" fmla="*/ 3588 h 3590"/>
                  <a:gd name="T94" fmla="*/ 1033 w 2697"/>
                  <a:gd name="T95" fmla="*/ 3532 h 3590"/>
                  <a:gd name="T96" fmla="*/ 956 w 2697"/>
                  <a:gd name="T97" fmla="*/ 3279 h 3590"/>
                  <a:gd name="T98" fmla="*/ 877 w 2697"/>
                  <a:gd name="T99" fmla="*/ 3241 h 3590"/>
                  <a:gd name="T100" fmla="*/ 854 w 2697"/>
                  <a:gd name="T101" fmla="*/ 2609 h 3590"/>
                  <a:gd name="T102" fmla="*/ 539 w 2697"/>
                  <a:gd name="T103" fmla="*/ 2432 h 3590"/>
                  <a:gd name="T104" fmla="*/ 287 w 2697"/>
                  <a:gd name="T105" fmla="*/ 2184 h 3590"/>
                  <a:gd name="T106" fmla="*/ 107 w 2697"/>
                  <a:gd name="T107" fmla="*/ 1881 h 3590"/>
                  <a:gd name="T108" fmla="*/ 12 w 2697"/>
                  <a:gd name="T109" fmla="*/ 1535 h 3590"/>
                  <a:gd name="T110" fmla="*/ 13 w 2697"/>
                  <a:gd name="T111" fmla="*/ 1160 h 3590"/>
                  <a:gd name="T112" fmla="*/ 115 w 2697"/>
                  <a:gd name="T113" fmla="*/ 805 h 3590"/>
                  <a:gd name="T114" fmla="*/ 305 w 2697"/>
                  <a:gd name="T115" fmla="*/ 496 h 3590"/>
                  <a:gd name="T116" fmla="*/ 567 w 2697"/>
                  <a:gd name="T117" fmla="*/ 250 h 3590"/>
                  <a:gd name="T118" fmla="*/ 888 w 2697"/>
                  <a:gd name="T119" fmla="*/ 82 h 3590"/>
                  <a:gd name="T120" fmla="*/ 1252 w 2697"/>
                  <a:gd name="T121" fmla="*/ 3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97" h="3589">
                    <a:moveTo>
                      <a:pt x="1060" y="2894"/>
                    </a:moveTo>
                    <a:lnTo>
                      <a:pt x="1060" y="3074"/>
                    </a:lnTo>
                    <a:lnTo>
                      <a:pt x="1125" y="3074"/>
                    </a:lnTo>
                    <a:lnTo>
                      <a:pt x="1149" y="3077"/>
                    </a:lnTo>
                    <a:lnTo>
                      <a:pt x="1170" y="3084"/>
                    </a:lnTo>
                    <a:lnTo>
                      <a:pt x="1189" y="3096"/>
                    </a:lnTo>
                    <a:lnTo>
                      <a:pt x="1205" y="3112"/>
                    </a:lnTo>
                    <a:lnTo>
                      <a:pt x="1217" y="3131"/>
                    </a:lnTo>
                    <a:lnTo>
                      <a:pt x="1225" y="3153"/>
                    </a:lnTo>
                    <a:lnTo>
                      <a:pt x="1227" y="3177"/>
                    </a:lnTo>
                    <a:lnTo>
                      <a:pt x="1227" y="3385"/>
                    </a:lnTo>
                    <a:lnTo>
                      <a:pt x="1469" y="3385"/>
                    </a:lnTo>
                    <a:lnTo>
                      <a:pt x="1469" y="3177"/>
                    </a:lnTo>
                    <a:lnTo>
                      <a:pt x="1472" y="3153"/>
                    </a:lnTo>
                    <a:lnTo>
                      <a:pt x="1480" y="3131"/>
                    </a:lnTo>
                    <a:lnTo>
                      <a:pt x="1492" y="3112"/>
                    </a:lnTo>
                    <a:lnTo>
                      <a:pt x="1508" y="3096"/>
                    </a:lnTo>
                    <a:lnTo>
                      <a:pt x="1526" y="3084"/>
                    </a:lnTo>
                    <a:lnTo>
                      <a:pt x="1548" y="3077"/>
                    </a:lnTo>
                    <a:lnTo>
                      <a:pt x="1572" y="3074"/>
                    </a:lnTo>
                    <a:lnTo>
                      <a:pt x="1637" y="3074"/>
                    </a:lnTo>
                    <a:lnTo>
                      <a:pt x="1637" y="2894"/>
                    </a:lnTo>
                    <a:lnTo>
                      <a:pt x="1060" y="2894"/>
                    </a:lnTo>
                    <a:close/>
                    <a:moveTo>
                      <a:pt x="1348" y="0"/>
                    </a:moveTo>
                    <a:lnTo>
                      <a:pt x="1444" y="3"/>
                    </a:lnTo>
                    <a:lnTo>
                      <a:pt x="1538" y="13"/>
                    </a:lnTo>
                    <a:lnTo>
                      <a:pt x="1631" y="29"/>
                    </a:lnTo>
                    <a:lnTo>
                      <a:pt x="1721" y="52"/>
                    </a:lnTo>
                    <a:lnTo>
                      <a:pt x="1809" y="82"/>
                    </a:lnTo>
                    <a:lnTo>
                      <a:pt x="1893" y="115"/>
                    </a:lnTo>
                    <a:lnTo>
                      <a:pt x="1975" y="156"/>
                    </a:lnTo>
                    <a:lnTo>
                      <a:pt x="2054" y="200"/>
                    </a:lnTo>
                    <a:lnTo>
                      <a:pt x="2129" y="250"/>
                    </a:lnTo>
                    <a:lnTo>
                      <a:pt x="2201" y="306"/>
                    </a:lnTo>
                    <a:lnTo>
                      <a:pt x="2269" y="364"/>
                    </a:lnTo>
                    <a:lnTo>
                      <a:pt x="2332" y="429"/>
                    </a:lnTo>
                    <a:lnTo>
                      <a:pt x="2392" y="496"/>
                    </a:lnTo>
                    <a:lnTo>
                      <a:pt x="2447" y="568"/>
                    </a:lnTo>
                    <a:lnTo>
                      <a:pt x="2497" y="644"/>
                    </a:lnTo>
                    <a:lnTo>
                      <a:pt x="2541" y="722"/>
                    </a:lnTo>
                    <a:lnTo>
                      <a:pt x="2582" y="805"/>
                    </a:lnTo>
                    <a:lnTo>
                      <a:pt x="2615" y="890"/>
                    </a:lnTo>
                    <a:lnTo>
                      <a:pt x="2643" y="977"/>
                    </a:lnTo>
                    <a:lnTo>
                      <a:pt x="2666" y="1067"/>
                    </a:lnTo>
                    <a:lnTo>
                      <a:pt x="2683" y="1160"/>
                    </a:lnTo>
                    <a:lnTo>
                      <a:pt x="2693" y="1254"/>
                    </a:lnTo>
                    <a:lnTo>
                      <a:pt x="2697" y="1351"/>
                    </a:lnTo>
                    <a:lnTo>
                      <a:pt x="2693" y="1440"/>
                    </a:lnTo>
                    <a:lnTo>
                      <a:pt x="2685" y="1530"/>
                    </a:lnTo>
                    <a:lnTo>
                      <a:pt x="2670" y="1617"/>
                    </a:lnTo>
                    <a:lnTo>
                      <a:pt x="2650" y="1704"/>
                    </a:lnTo>
                    <a:lnTo>
                      <a:pt x="2624" y="1787"/>
                    </a:lnTo>
                    <a:lnTo>
                      <a:pt x="2592" y="1870"/>
                    </a:lnTo>
                    <a:lnTo>
                      <a:pt x="2557" y="1951"/>
                    </a:lnTo>
                    <a:lnTo>
                      <a:pt x="2514" y="2028"/>
                    </a:lnTo>
                    <a:lnTo>
                      <a:pt x="2469" y="2103"/>
                    </a:lnTo>
                    <a:lnTo>
                      <a:pt x="2417" y="2175"/>
                    </a:lnTo>
                    <a:lnTo>
                      <a:pt x="2360" y="2243"/>
                    </a:lnTo>
                    <a:lnTo>
                      <a:pt x="2299" y="2308"/>
                    </a:lnTo>
                    <a:lnTo>
                      <a:pt x="2233" y="2369"/>
                    </a:lnTo>
                    <a:lnTo>
                      <a:pt x="2215" y="2384"/>
                    </a:lnTo>
                    <a:lnTo>
                      <a:pt x="2193" y="2391"/>
                    </a:lnTo>
                    <a:lnTo>
                      <a:pt x="2170" y="2394"/>
                    </a:lnTo>
                    <a:lnTo>
                      <a:pt x="2148" y="2393"/>
                    </a:lnTo>
                    <a:lnTo>
                      <a:pt x="2127" y="2387"/>
                    </a:lnTo>
                    <a:lnTo>
                      <a:pt x="2107" y="2376"/>
                    </a:lnTo>
                    <a:lnTo>
                      <a:pt x="2090" y="2360"/>
                    </a:lnTo>
                    <a:lnTo>
                      <a:pt x="2076" y="2340"/>
                    </a:lnTo>
                    <a:lnTo>
                      <a:pt x="2068" y="2319"/>
                    </a:lnTo>
                    <a:lnTo>
                      <a:pt x="2064" y="2297"/>
                    </a:lnTo>
                    <a:lnTo>
                      <a:pt x="2066" y="2274"/>
                    </a:lnTo>
                    <a:lnTo>
                      <a:pt x="2072" y="2253"/>
                    </a:lnTo>
                    <a:lnTo>
                      <a:pt x="2083" y="2232"/>
                    </a:lnTo>
                    <a:lnTo>
                      <a:pt x="2100" y="2215"/>
                    </a:lnTo>
                    <a:lnTo>
                      <a:pt x="2159" y="2158"/>
                    </a:lnTo>
                    <a:lnTo>
                      <a:pt x="2215" y="2099"/>
                    </a:lnTo>
                    <a:lnTo>
                      <a:pt x="2266" y="2034"/>
                    </a:lnTo>
                    <a:lnTo>
                      <a:pt x="2312" y="1968"/>
                    </a:lnTo>
                    <a:lnTo>
                      <a:pt x="2353" y="1898"/>
                    </a:lnTo>
                    <a:lnTo>
                      <a:pt x="2389" y="1825"/>
                    </a:lnTo>
                    <a:lnTo>
                      <a:pt x="2420" y="1750"/>
                    </a:lnTo>
                    <a:lnTo>
                      <a:pt x="2446" y="1674"/>
                    </a:lnTo>
                    <a:lnTo>
                      <a:pt x="2465" y="1595"/>
                    </a:lnTo>
                    <a:lnTo>
                      <a:pt x="2480" y="1514"/>
                    </a:lnTo>
                    <a:lnTo>
                      <a:pt x="2489" y="1434"/>
                    </a:lnTo>
                    <a:lnTo>
                      <a:pt x="2491" y="1351"/>
                    </a:lnTo>
                    <a:lnTo>
                      <a:pt x="2488" y="1262"/>
                    </a:lnTo>
                    <a:lnTo>
                      <a:pt x="2478" y="1174"/>
                    </a:lnTo>
                    <a:lnTo>
                      <a:pt x="2461" y="1089"/>
                    </a:lnTo>
                    <a:lnTo>
                      <a:pt x="2438" y="1005"/>
                    </a:lnTo>
                    <a:lnTo>
                      <a:pt x="2410" y="925"/>
                    </a:lnTo>
                    <a:lnTo>
                      <a:pt x="2375" y="847"/>
                    </a:lnTo>
                    <a:lnTo>
                      <a:pt x="2335" y="773"/>
                    </a:lnTo>
                    <a:lnTo>
                      <a:pt x="2291" y="702"/>
                    </a:lnTo>
                    <a:lnTo>
                      <a:pt x="2241" y="634"/>
                    </a:lnTo>
                    <a:lnTo>
                      <a:pt x="2185" y="571"/>
                    </a:lnTo>
                    <a:lnTo>
                      <a:pt x="2127" y="512"/>
                    </a:lnTo>
                    <a:lnTo>
                      <a:pt x="2063" y="457"/>
                    </a:lnTo>
                    <a:lnTo>
                      <a:pt x="1995" y="407"/>
                    </a:lnTo>
                    <a:lnTo>
                      <a:pt x="1925" y="361"/>
                    </a:lnTo>
                    <a:lnTo>
                      <a:pt x="1851" y="322"/>
                    </a:lnTo>
                    <a:lnTo>
                      <a:pt x="1773" y="287"/>
                    </a:lnTo>
                    <a:lnTo>
                      <a:pt x="1692" y="258"/>
                    </a:lnTo>
                    <a:lnTo>
                      <a:pt x="1610" y="235"/>
                    </a:lnTo>
                    <a:lnTo>
                      <a:pt x="1525" y="219"/>
                    </a:lnTo>
                    <a:lnTo>
                      <a:pt x="1437" y="209"/>
                    </a:lnTo>
                    <a:lnTo>
                      <a:pt x="1348" y="205"/>
                    </a:lnTo>
                    <a:lnTo>
                      <a:pt x="1259" y="209"/>
                    </a:lnTo>
                    <a:lnTo>
                      <a:pt x="1171" y="219"/>
                    </a:lnTo>
                    <a:lnTo>
                      <a:pt x="1087" y="235"/>
                    </a:lnTo>
                    <a:lnTo>
                      <a:pt x="1003" y="258"/>
                    </a:lnTo>
                    <a:lnTo>
                      <a:pt x="923" y="287"/>
                    </a:lnTo>
                    <a:lnTo>
                      <a:pt x="846" y="322"/>
                    </a:lnTo>
                    <a:lnTo>
                      <a:pt x="772" y="361"/>
                    </a:lnTo>
                    <a:lnTo>
                      <a:pt x="700" y="407"/>
                    </a:lnTo>
                    <a:lnTo>
                      <a:pt x="633" y="457"/>
                    </a:lnTo>
                    <a:lnTo>
                      <a:pt x="570" y="512"/>
                    </a:lnTo>
                    <a:lnTo>
                      <a:pt x="511" y="571"/>
                    </a:lnTo>
                    <a:lnTo>
                      <a:pt x="456" y="634"/>
                    </a:lnTo>
                    <a:lnTo>
                      <a:pt x="406" y="702"/>
                    </a:lnTo>
                    <a:lnTo>
                      <a:pt x="360" y="773"/>
                    </a:lnTo>
                    <a:lnTo>
                      <a:pt x="321" y="847"/>
                    </a:lnTo>
                    <a:lnTo>
                      <a:pt x="287" y="925"/>
                    </a:lnTo>
                    <a:lnTo>
                      <a:pt x="257" y="1005"/>
                    </a:lnTo>
                    <a:lnTo>
                      <a:pt x="234" y="1089"/>
                    </a:lnTo>
                    <a:lnTo>
                      <a:pt x="218" y="1174"/>
                    </a:lnTo>
                    <a:lnTo>
                      <a:pt x="208" y="1262"/>
                    </a:lnTo>
                    <a:lnTo>
                      <a:pt x="204" y="1351"/>
                    </a:lnTo>
                    <a:lnTo>
                      <a:pt x="207" y="1433"/>
                    </a:lnTo>
                    <a:lnTo>
                      <a:pt x="216" y="1513"/>
                    </a:lnTo>
                    <a:lnTo>
                      <a:pt x="230" y="1593"/>
                    </a:lnTo>
                    <a:lnTo>
                      <a:pt x="250" y="1670"/>
                    </a:lnTo>
                    <a:lnTo>
                      <a:pt x="275" y="1746"/>
                    </a:lnTo>
                    <a:lnTo>
                      <a:pt x="304" y="1819"/>
                    </a:lnTo>
                    <a:lnTo>
                      <a:pt x="338" y="1890"/>
                    </a:lnTo>
                    <a:lnTo>
                      <a:pt x="378" y="1957"/>
                    </a:lnTo>
                    <a:lnTo>
                      <a:pt x="421" y="2022"/>
                    </a:lnTo>
                    <a:lnTo>
                      <a:pt x="469" y="2084"/>
                    </a:lnTo>
                    <a:lnTo>
                      <a:pt x="521" y="2143"/>
                    </a:lnTo>
                    <a:lnTo>
                      <a:pt x="577" y="2199"/>
                    </a:lnTo>
                    <a:lnTo>
                      <a:pt x="637" y="2250"/>
                    </a:lnTo>
                    <a:lnTo>
                      <a:pt x="701" y="2297"/>
                    </a:lnTo>
                    <a:lnTo>
                      <a:pt x="767" y="2339"/>
                    </a:lnTo>
                    <a:lnTo>
                      <a:pt x="838" y="2377"/>
                    </a:lnTo>
                    <a:lnTo>
                      <a:pt x="912" y="2411"/>
                    </a:lnTo>
                    <a:lnTo>
                      <a:pt x="989" y="2439"/>
                    </a:lnTo>
                    <a:lnTo>
                      <a:pt x="1008" y="2448"/>
                    </a:lnTo>
                    <a:lnTo>
                      <a:pt x="1026" y="2461"/>
                    </a:lnTo>
                    <a:lnTo>
                      <a:pt x="1040" y="2476"/>
                    </a:lnTo>
                    <a:lnTo>
                      <a:pt x="1050" y="2495"/>
                    </a:lnTo>
                    <a:lnTo>
                      <a:pt x="1056" y="2515"/>
                    </a:lnTo>
                    <a:lnTo>
                      <a:pt x="1060" y="2537"/>
                    </a:lnTo>
                    <a:lnTo>
                      <a:pt x="1060" y="2688"/>
                    </a:lnTo>
                    <a:lnTo>
                      <a:pt x="1637" y="2688"/>
                    </a:lnTo>
                    <a:lnTo>
                      <a:pt x="1637" y="2537"/>
                    </a:lnTo>
                    <a:lnTo>
                      <a:pt x="1640" y="2513"/>
                    </a:lnTo>
                    <a:lnTo>
                      <a:pt x="1648" y="2491"/>
                    </a:lnTo>
                    <a:lnTo>
                      <a:pt x="1660" y="2473"/>
                    </a:lnTo>
                    <a:lnTo>
                      <a:pt x="1675" y="2456"/>
                    </a:lnTo>
                    <a:lnTo>
                      <a:pt x="1695" y="2444"/>
                    </a:lnTo>
                    <a:lnTo>
                      <a:pt x="1716" y="2437"/>
                    </a:lnTo>
                    <a:lnTo>
                      <a:pt x="1739" y="2434"/>
                    </a:lnTo>
                    <a:lnTo>
                      <a:pt x="1763" y="2437"/>
                    </a:lnTo>
                    <a:lnTo>
                      <a:pt x="1785" y="2444"/>
                    </a:lnTo>
                    <a:lnTo>
                      <a:pt x="1803" y="2456"/>
                    </a:lnTo>
                    <a:lnTo>
                      <a:pt x="1819" y="2473"/>
                    </a:lnTo>
                    <a:lnTo>
                      <a:pt x="1831" y="2491"/>
                    </a:lnTo>
                    <a:lnTo>
                      <a:pt x="1839" y="2513"/>
                    </a:lnTo>
                    <a:lnTo>
                      <a:pt x="1842" y="2537"/>
                    </a:lnTo>
                    <a:lnTo>
                      <a:pt x="1842" y="3177"/>
                    </a:lnTo>
                    <a:lnTo>
                      <a:pt x="1839" y="3199"/>
                    </a:lnTo>
                    <a:lnTo>
                      <a:pt x="1831" y="3221"/>
                    </a:lnTo>
                    <a:lnTo>
                      <a:pt x="1819" y="3241"/>
                    </a:lnTo>
                    <a:lnTo>
                      <a:pt x="1803" y="3256"/>
                    </a:lnTo>
                    <a:lnTo>
                      <a:pt x="1785" y="3268"/>
                    </a:lnTo>
                    <a:lnTo>
                      <a:pt x="1763" y="3277"/>
                    </a:lnTo>
                    <a:lnTo>
                      <a:pt x="1739" y="3279"/>
                    </a:lnTo>
                    <a:lnTo>
                      <a:pt x="1674" y="3279"/>
                    </a:lnTo>
                    <a:lnTo>
                      <a:pt x="1674" y="3488"/>
                    </a:lnTo>
                    <a:lnTo>
                      <a:pt x="1671" y="3511"/>
                    </a:lnTo>
                    <a:lnTo>
                      <a:pt x="1663" y="3532"/>
                    </a:lnTo>
                    <a:lnTo>
                      <a:pt x="1651" y="3552"/>
                    </a:lnTo>
                    <a:lnTo>
                      <a:pt x="1635" y="3567"/>
                    </a:lnTo>
                    <a:lnTo>
                      <a:pt x="1616" y="3579"/>
                    </a:lnTo>
                    <a:lnTo>
                      <a:pt x="1595" y="3588"/>
                    </a:lnTo>
                    <a:lnTo>
                      <a:pt x="1572" y="3590"/>
                    </a:lnTo>
                    <a:lnTo>
                      <a:pt x="1125" y="3590"/>
                    </a:lnTo>
                    <a:lnTo>
                      <a:pt x="1102" y="3588"/>
                    </a:lnTo>
                    <a:lnTo>
                      <a:pt x="1080" y="3579"/>
                    </a:lnTo>
                    <a:lnTo>
                      <a:pt x="1061" y="3567"/>
                    </a:lnTo>
                    <a:lnTo>
                      <a:pt x="1045" y="3552"/>
                    </a:lnTo>
                    <a:lnTo>
                      <a:pt x="1033" y="3532"/>
                    </a:lnTo>
                    <a:lnTo>
                      <a:pt x="1025" y="3511"/>
                    </a:lnTo>
                    <a:lnTo>
                      <a:pt x="1023" y="3488"/>
                    </a:lnTo>
                    <a:lnTo>
                      <a:pt x="1023" y="3279"/>
                    </a:lnTo>
                    <a:lnTo>
                      <a:pt x="956" y="3279"/>
                    </a:lnTo>
                    <a:lnTo>
                      <a:pt x="934" y="3276"/>
                    </a:lnTo>
                    <a:lnTo>
                      <a:pt x="912" y="3268"/>
                    </a:lnTo>
                    <a:lnTo>
                      <a:pt x="892" y="3256"/>
                    </a:lnTo>
                    <a:lnTo>
                      <a:pt x="877" y="3241"/>
                    </a:lnTo>
                    <a:lnTo>
                      <a:pt x="865" y="3221"/>
                    </a:lnTo>
                    <a:lnTo>
                      <a:pt x="858" y="3199"/>
                    </a:lnTo>
                    <a:lnTo>
                      <a:pt x="854" y="3177"/>
                    </a:lnTo>
                    <a:lnTo>
                      <a:pt x="854" y="2609"/>
                    </a:lnTo>
                    <a:lnTo>
                      <a:pt x="771" y="2572"/>
                    </a:lnTo>
                    <a:lnTo>
                      <a:pt x="689" y="2530"/>
                    </a:lnTo>
                    <a:lnTo>
                      <a:pt x="612" y="2484"/>
                    </a:lnTo>
                    <a:lnTo>
                      <a:pt x="539" y="2432"/>
                    </a:lnTo>
                    <a:lnTo>
                      <a:pt x="470" y="2377"/>
                    </a:lnTo>
                    <a:lnTo>
                      <a:pt x="405" y="2317"/>
                    </a:lnTo>
                    <a:lnTo>
                      <a:pt x="343" y="2253"/>
                    </a:lnTo>
                    <a:lnTo>
                      <a:pt x="287" y="2184"/>
                    </a:lnTo>
                    <a:lnTo>
                      <a:pt x="234" y="2114"/>
                    </a:lnTo>
                    <a:lnTo>
                      <a:pt x="187" y="2039"/>
                    </a:lnTo>
                    <a:lnTo>
                      <a:pt x="144" y="1961"/>
                    </a:lnTo>
                    <a:lnTo>
                      <a:pt x="107" y="1881"/>
                    </a:lnTo>
                    <a:lnTo>
                      <a:pt x="75" y="1797"/>
                    </a:lnTo>
                    <a:lnTo>
                      <a:pt x="49" y="1712"/>
                    </a:lnTo>
                    <a:lnTo>
                      <a:pt x="27" y="1624"/>
                    </a:lnTo>
                    <a:lnTo>
                      <a:pt x="12" y="1535"/>
                    </a:lnTo>
                    <a:lnTo>
                      <a:pt x="3" y="1444"/>
                    </a:lnTo>
                    <a:lnTo>
                      <a:pt x="0" y="1351"/>
                    </a:lnTo>
                    <a:lnTo>
                      <a:pt x="3" y="1254"/>
                    </a:lnTo>
                    <a:lnTo>
                      <a:pt x="13" y="1160"/>
                    </a:lnTo>
                    <a:lnTo>
                      <a:pt x="30" y="1067"/>
                    </a:lnTo>
                    <a:lnTo>
                      <a:pt x="52" y="977"/>
                    </a:lnTo>
                    <a:lnTo>
                      <a:pt x="81" y="890"/>
                    </a:lnTo>
                    <a:lnTo>
                      <a:pt x="115" y="805"/>
                    </a:lnTo>
                    <a:lnTo>
                      <a:pt x="155" y="722"/>
                    </a:lnTo>
                    <a:lnTo>
                      <a:pt x="200" y="644"/>
                    </a:lnTo>
                    <a:lnTo>
                      <a:pt x="250" y="568"/>
                    </a:lnTo>
                    <a:lnTo>
                      <a:pt x="305" y="496"/>
                    </a:lnTo>
                    <a:lnTo>
                      <a:pt x="364" y="429"/>
                    </a:lnTo>
                    <a:lnTo>
                      <a:pt x="428" y="364"/>
                    </a:lnTo>
                    <a:lnTo>
                      <a:pt x="495" y="306"/>
                    </a:lnTo>
                    <a:lnTo>
                      <a:pt x="567" y="250"/>
                    </a:lnTo>
                    <a:lnTo>
                      <a:pt x="643" y="200"/>
                    </a:lnTo>
                    <a:lnTo>
                      <a:pt x="721" y="156"/>
                    </a:lnTo>
                    <a:lnTo>
                      <a:pt x="803" y="115"/>
                    </a:lnTo>
                    <a:lnTo>
                      <a:pt x="888" y="82"/>
                    </a:lnTo>
                    <a:lnTo>
                      <a:pt x="975" y="52"/>
                    </a:lnTo>
                    <a:lnTo>
                      <a:pt x="1065" y="29"/>
                    </a:lnTo>
                    <a:lnTo>
                      <a:pt x="1157" y="13"/>
                    </a:lnTo>
                    <a:lnTo>
                      <a:pt x="1252" y="3"/>
                    </a:lnTo>
                    <a:lnTo>
                      <a:pt x="1348" y="0"/>
                    </a:lnTo>
                    <a:close/>
                  </a:path>
                </a:pathLst>
              </a:custGeom>
              <a:solidFill>
                <a:srgbClr val="004195"/>
              </a:solidFill>
              <a:ln w="0">
                <a:noFill/>
                <a:prstDash val="solid"/>
                <a:round/>
              </a:ln>
            </p:spPr>
            <p:txBody>
              <a:bodyPr vert="horz" wrap="square" lIns="91440" tIns="45720" rIns="91440" bIns="45720" numCol="1" anchor="t" anchorCtr="0" compatLnSpc="1"/>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5" name="Freeform 70"/>
              <p:cNvSpPr/>
              <p:nvPr/>
            </p:nvSpPr>
            <p:spPr bwMode="auto">
              <a:xfrm>
                <a:off x="4559301" y="4294188"/>
                <a:ext cx="168275" cy="304800"/>
              </a:xfrm>
              <a:custGeom>
                <a:avLst/>
                <a:gdLst>
                  <a:gd name="T0" fmla="*/ 980 w 1059"/>
                  <a:gd name="T1" fmla="*/ 2 h 1919"/>
                  <a:gd name="T2" fmla="*/ 1021 w 1059"/>
                  <a:gd name="T3" fmla="*/ 21 h 1919"/>
                  <a:gd name="T4" fmla="*/ 1050 w 1059"/>
                  <a:gd name="T5" fmla="*/ 56 h 1919"/>
                  <a:gd name="T6" fmla="*/ 1059 w 1059"/>
                  <a:gd name="T7" fmla="*/ 102 h 1919"/>
                  <a:gd name="T8" fmla="*/ 1050 w 1059"/>
                  <a:gd name="T9" fmla="*/ 146 h 1919"/>
                  <a:gd name="T10" fmla="*/ 1021 w 1059"/>
                  <a:gd name="T11" fmla="*/ 181 h 1919"/>
                  <a:gd name="T12" fmla="*/ 980 w 1059"/>
                  <a:gd name="T13" fmla="*/ 201 h 1919"/>
                  <a:gd name="T14" fmla="*/ 885 w 1059"/>
                  <a:gd name="T15" fmla="*/ 207 h 1919"/>
                  <a:gd name="T16" fmla="*/ 746 w 1059"/>
                  <a:gd name="T17" fmla="*/ 235 h 1919"/>
                  <a:gd name="T18" fmla="*/ 617 w 1059"/>
                  <a:gd name="T19" fmla="*/ 286 h 1919"/>
                  <a:gd name="T20" fmla="*/ 501 w 1059"/>
                  <a:gd name="T21" fmla="*/ 359 h 1919"/>
                  <a:gd name="T22" fmla="*/ 401 w 1059"/>
                  <a:gd name="T23" fmla="*/ 450 h 1919"/>
                  <a:gd name="T24" fmla="*/ 319 w 1059"/>
                  <a:gd name="T25" fmla="*/ 559 h 1919"/>
                  <a:gd name="T26" fmla="*/ 257 w 1059"/>
                  <a:gd name="T27" fmla="*/ 682 h 1919"/>
                  <a:gd name="T28" fmla="*/ 218 w 1059"/>
                  <a:gd name="T29" fmla="*/ 815 h 1919"/>
                  <a:gd name="T30" fmla="*/ 204 w 1059"/>
                  <a:gd name="T31" fmla="*/ 959 h 1919"/>
                  <a:gd name="T32" fmla="*/ 218 w 1059"/>
                  <a:gd name="T33" fmla="*/ 1102 h 1919"/>
                  <a:gd name="T34" fmla="*/ 257 w 1059"/>
                  <a:gd name="T35" fmla="*/ 1236 h 1919"/>
                  <a:gd name="T36" fmla="*/ 319 w 1059"/>
                  <a:gd name="T37" fmla="*/ 1359 h 1919"/>
                  <a:gd name="T38" fmla="*/ 401 w 1059"/>
                  <a:gd name="T39" fmla="*/ 1468 h 1919"/>
                  <a:gd name="T40" fmla="*/ 501 w 1059"/>
                  <a:gd name="T41" fmla="*/ 1560 h 1919"/>
                  <a:gd name="T42" fmla="*/ 617 w 1059"/>
                  <a:gd name="T43" fmla="*/ 1632 h 1919"/>
                  <a:gd name="T44" fmla="*/ 746 w 1059"/>
                  <a:gd name="T45" fmla="*/ 1684 h 1919"/>
                  <a:gd name="T46" fmla="*/ 885 w 1059"/>
                  <a:gd name="T47" fmla="*/ 1710 h 1919"/>
                  <a:gd name="T48" fmla="*/ 980 w 1059"/>
                  <a:gd name="T49" fmla="*/ 1716 h 1919"/>
                  <a:gd name="T50" fmla="*/ 1021 w 1059"/>
                  <a:gd name="T51" fmla="*/ 1736 h 1919"/>
                  <a:gd name="T52" fmla="*/ 1050 w 1059"/>
                  <a:gd name="T53" fmla="*/ 1771 h 1919"/>
                  <a:gd name="T54" fmla="*/ 1059 w 1059"/>
                  <a:gd name="T55" fmla="*/ 1816 h 1919"/>
                  <a:gd name="T56" fmla="*/ 1050 w 1059"/>
                  <a:gd name="T57" fmla="*/ 1861 h 1919"/>
                  <a:gd name="T58" fmla="*/ 1021 w 1059"/>
                  <a:gd name="T59" fmla="*/ 1896 h 1919"/>
                  <a:gd name="T60" fmla="*/ 980 w 1059"/>
                  <a:gd name="T61" fmla="*/ 1916 h 1919"/>
                  <a:gd name="T62" fmla="*/ 879 w 1059"/>
                  <a:gd name="T63" fmla="*/ 1915 h 1919"/>
                  <a:gd name="T64" fmla="*/ 727 w 1059"/>
                  <a:gd name="T65" fmla="*/ 1890 h 1919"/>
                  <a:gd name="T66" fmla="*/ 585 w 1059"/>
                  <a:gd name="T67" fmla="*/ 1843 h 1919"/>
                  <a:gd name="T68" fmla="*/ 452 w 1059"/>
                  <a:gd name="T69" fmla="*/ 1775 h 1919"/>
                  <a:gd name="T70" fmla="*/ 334 w 1059"/>
                  <a:gd name="T71" fmla="*/ 1687 h 1919"/>
                  <a:gd name="T72" fmla="*/ 230 w 1059"/>
                  <a:gd name="T73" fmla="*/ 1583 h 1919"/>
                  <a:gd name="T74" fmla="*/ 143 w 1059"/>
                  <a:gd name="T75" fmla="*/ 1464 h 1919"/>
                  <a:gd name="T76" fmla="*/ 75 w 1059"/>
                  <a:gd name="T77" fmla="*/ 1332 h 1919"/>
                  <a:gd name="T78" fmla="*/ 27 w 1059"/>
                  <a:gd name="T79" fmla="*/ 1190 h 1919"/>
                  <a:gd name="T80" fmla="*/ 3 w 1059"/>
                  <a:gd name="T81" fmla="*/ 1037 h 1919"/>
                  <a:gd name="T82" fmla="*/ 3 w 1059"/>
                  <a:gd name="T83" fmla="*/ 881 h 1919"/>
                  <a:gd name="T84" fmla="*/ 27 w 1059"/>
                  <a:gd name="T85" fmla="*/ 728 h 1919"/>
                  <a:gd name="T86" fmla="*/ 75 w 1059"/>
                  <a:gd name="T87" fmla="*/ 586 h 1919"/>
                  <a:gd name="T88" fmla="*/ 143 w 1059"/>
                  <a:gd name="T89" fmla="*/ 453 h 1919"/>
                  <a:gd name="T90" fmla="*/ 230 w 1059"/>
                  <a:gd name="T91" fmla="*/ 335 h 1919"/>
                  <a:gd name="T92" fmla="*/ 334 w 1059"/>
                  <a:gd name="T93" fmla="*/ 230 h 1919"/>
                  <a:gd name="T94" fmla="*/ 454 w 1059"/>
                  <a:gd name="T95" fmla="*/ 143 h 1919"/>
                  <a:gd name="T96" fmla="*/ 585 w 1059"/>
                  <a:gd name="T97" fmla="*/ 75 h 1919"/>
                  <a:gd name="T98" fmla="*/ 727 w 1059"/>
                  <a:gd name="T99" fmla="*/ 27 h 1919"/>
                  <a:gd name="T100" fmla="*/ 879 w 1059"/>
                  <a:gd name="T101" fmla="*/ 3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59" h="1919">
                    <a:moveTo>
                      <a:pt x="957" y="0"/>
                    </a:moveTo>
                    <a:lnTo>
                      <a:pt x="980" y="2"/>
                    </a:lnTo>
                    <a:lnTo>
                      <a:pt x="1002" y="9"/>
                    </a:lnTo>
                    <a:lnTo>
                      <a:pt x="1021" y="21"/>
                    </a:lnTo>
                    <a:lnTo>
                      <a:pt x="1037" y="38"/>
                    </a:lnTo>
                    <a:lnTo>
                      <a:pt x="1050" y="56"/>
                    </a:lnTo>
                    <a:lnTo>
                      <a:pt x="1057" y="78"/>
                    </a:lnTo>
                    <a:lnTo>
                      <a:pt x="1059" y="102"/>
                    </a:lnTo>
                    <a:lnTo>
                      <a:pt x="1057" y="125"/>
                    </a:lnTo>
                    <a:lnTo>
                      <a:pt x="1050" y="146"/>
                    </a:lnTo>
                    <a:lnTo>
                      <a:pt x="1037" y="166"/>
                    </a:lnTo>
                    <a:lnTo>
                      <a:pt x="1021" y="181"/>
                    </a:lnTo>
                    <a:lnTo>
                      <a:pt x="1002" y="193"/>
                    </a:lnTo>
                    <a:lnTo>
                      <a:pt x="980" y="201"/>
                    </a:lnTo>
                    <a:lnTo>
                      <a:pt x="957" y="204"/>
                    </a:lnTo>
                    <a:lnTo>
                      <a:pt x="885" y="207"/>
                    </a:lnTo>
                    <a:lnTo>
                      <a:pt x="814" y="218"/>
                    </a:lnTo>
                    <a:lnTo>
                      <a:pt x="746" y="235"/>
                    </a:lnTo>
                    <a:lnTo>
                      <a:pt x="680" y="257"/>
                    </a:lnTo>
                    <a:lnTo>
                      <a:pt x="617" y="286"/>
                    </a:lnTo>
                    <a:lnTo>
                      <a:pt x="558" y="319"/>
                    </a:lnTo>
                    <a:lnTo>
                      <a:pt x="501" y="359"/>
                    </a:lnTo>
                    <a:lnTo>
                      <a:pt x="449" y="402"/>
                    </a:lnTo>
                    <a:lnTo>
                      <a:pt x="401" y="450"/>
                    </a:lnTo>
                    <a:lnTo>
                      <a:pt x="358" y="502"/>
                    </a:lnTo>
                    <a:lnTo>
                      <a:pt x="319" y="559"/>
                    </a:lnTo>
                    <a:lnTo>
                      <a:pt x="285" y="619"/>
                    </a:lnTo>
                    <a:lnTo>
                      <a:pt x="257" y="682"/>
                    </a:lnTo>
                    <a:lnTo>
                      <a:pt x="234" y="747"/>
                    </a:lnTo>
                    <a:lnTo>
                      <a:pt x="218" y="815"/>
                    </a:lnTo>
                    <a:lnTo>
                      <a:pt x="207" y="886"/>
                    </a:lnTo>
                    <a:lnTo>
                      <a:pt x="204" y="959"/>
                    </a:lnTo>
                    <a:lnTo>
                      <a:pt x="207" y="1032"/>
                    </a:lnTo>
                    <a:lnTo>
                      <a:pt x="218" y="1102"/>
                    </a:lnTo>
                    <a:lnTo>
                      <a:pt x="234" y="1170"/>
                    </a:lnTo>
                    <a:lnTo>
                      <a:pt x="257" y="1236"/>
                    </a:lnTo>
                    <a:lnTo>
                      <a:pt x="285" y="1300"/>
                    </a:lnTo>
                    <a:lnTo>
                      <a:pt x="319" y="1359"/>
                    </a:lnTo>
                    <a:lnTo>
                      <a:pt x="358" y="1415"/>
                    </a:lnTo>
                    <a:lnTo>
                      <a:pt x="401" y="1468"/>
                    </a:lnTo>
                    <a:lnTo>
                      <a:pt x="449" y="1516"/>
                    </a:lnTo>
                    <a:lnTo>
                      <a:pt x="501" y="1560"/>
                    </a:lnTo>
                    <a:lnTo>
                      <a:pt x="558" y="1599"/>
                    </a:lnTo>
                    <a:lnTo>
                      <a:pt x="617" y="1632"/>
                    </a:lnTo>
                    <a:lnTo>
                      <a:pt x="680" y="1661"/>
                    </a:lnTo>
                    <a:lnTo>
                      <a:pt x="746" y="1684"/>
                    </a:lnTo>
                    <a:lnTo>
                      <a:pt x="814" y="1700"/>
                    </a:lnTo>
                    <a:lnTo>
                      <a:pt x="885" y="1710"/>
                    </a:lnTo>
                    <a:lnTo>
                      <a:pt x="957" y="1714"/>
                    </a:lnTo>
                    <a:lnTo>
                      <a:pt x="980" y="1716"/>
                    </a:lnTo>
                    <a:lnTo>
                      <a:pt x="1002" y="1724"/>
                    </a:lnTo>
                    <a:lnTo>
                      <a:pt x="1021" y="1736"/>
                    </a:lnTo>
                    <a:lnTo>
                      <a:pt x="1037" y="1752"/>
                    </a:lnTo>
                    <a:lnTo>
                      <a:pt x="1050" y="1771"/>
                    </a:lnTo>
                    <a:lnTo>
                      <a:pt x="1057" y="1792"/>
                    </a:lnTo>
                    <a:lnTo>
                      <a:pt x="1059" y="1816"/>
                    </a:lnTo>
                    <a:lnTo>
                      <a:pt x="1057" y="1839"/>
                    </a:lnTo>
                    <a:lnTo>
                      <a:pt x="1050" y="1861"/>
                    </a:lnTo>
                    <a:lnTo>
                      <a:pt x="1037" y="1880"/>
                    </a:lnTo>
                    <a:lnTo>
                      <a:pt x="1021" y="1896"/>
                    </a:lnTo>
                    <a:lnTo>
                      <a:pt x="1002" y="1908"/>
                    </a:lnTo>
                    <a:lnTo>
                      <a:pt x="980" y="1916"/>
                    </a:lnTo>
                    <a:lnTo>
                      <a:pt x="957" y="1919"/>
                    </a:lnTo>
                    <a:lnTo>
                      <a:pt x="879" y="1915"/>
                    </a:lnTo>
                    <a:lnTo>
                      <a:pt x="802" y="1906"/>
                    </a:lnTo>
                    <a:lnTo>
                      <a:pt x="727" y="1890"/>
                    </a:lnTo>
                    <a:lnTo>
                      <a:pt x="654" y="1870"/>
                    </a:lnTo>
                    <a:lnTo>
                      <a:pt x="585" y="1843"/>
                    </a:lnTo>
                    <a:lnTo>
                      <a:pt x="518" y="1811"/>
                    </a:lnTo>
                    <a:lnTo>
                      <a:pt x="452" y="1775"/>
                    </a:lnTo>
                    <a:lnTo>
                      <a:pt x="392" y="1734"/>
                    </a:lnTo>
                    <a:lnTo>
                      <a:pt x="334" y="1687"/>
                    </a:lnTo>
                    <a:lnTo>
                      <a:pt x="280" y="1637"/>
                    </a:lnTo>
                    <a:lnTo>
                      <a:pt x="230" y="1583"/>
                    </a:lnTo>
                    <a:lnTo>
                      <a:pt x="184" y="1525"/>
                    </a:lnTo>
                    <a:lnTo>
                      <a:pt x="143" y="1464"/>
                    </a:lnTo>
                    <a:lnTo>
                      <a:pt x="106" y="1400"/>
                    </a:lnTo>
                    <a:lnTo>
                      <a:pt x="75" y="1332"/>
                    </a:lnTo>
                    <a:lnTo>
                      <a:pt x="49" y="1261"/>
                    </a:lnTo>
                    <a:lnTo>
                      <a:pt x="27" y="1190"/>
                    </a:lnTo>
                    <a:lnTo>
                      <a:pt x="12" y="1115"/>
                    </a:lnTo>
                    <a:lnTo>
                      <a:pt x="3" y="1037"/>
                    </a:lnTo>
                    <a:lnTo>
                      <a:pt x="0" y="959"/>
                    </a:lnTo>
                    <a:lnTo>
                      <a:pt x="3" y="881"/>
                    </a:lnTo>
                    <a:lnTo>
                      <a:pt x="12" y="803"/>
                    </a:lnTo>
                    <a:lnTo>
                      <a:pt x="27" y="728"/>
                    </a:lnTo>
                    <a:lnTo>
                      <a:pt x="49" y="656"/>
                    </a:lnTo>
                    <a:lnTo>
                      <a:pt x="75" y="586"/>
                    </a:lnTo>
                    <a:lnTo>
                      <a:pt x="106" y="518"/>
                    </a:lnTo>
                    <a:lnTo>
                      <a:pt x="143" y="453"/>
                    </a:lnTo>
                    <a:lnTo>
                      <a:pt x="184" y="392"/>
                    </a:lnTo>
                    <a:lnTo>
                      <a:pt x="230" y="335"/>
                    </a:lnTo>
                    <a:lnTo>
                      <a:pt x="280" y="280"/>
                    </a:lnTo>
                    <a:lnTo>
                      <a:pt x="334" y="230"/>
                    </a:lnTo>
                    <a:lnTo>
                      <a:pt x="392" y="184"/>
                    </a:lnTo>
                    <a:lnTo>
                      <a:pt x="454" y="143"/>
                    </a:lnTo>
                    <a:lnTo>
                      <a:pt x="518" y="106"/>
                    </a:lnTo>
                    <a:lnTo>
                      <a:pt x="585" y="75"/>
                    </a:lnTo>
                    <a:lnTo>
                      <a:pt x="654" y="48"/>
                    </a:lnTo>
                    <a:lnTo>
                      <a:pt x="727" y="27"/>
                    </a:lnTo>
                    <a:lnTo>
                      <a:pt x="802" y="12"/>
                    </a:lnTo>
                    <a:lnTo>
                      <a:pt x="879" y="3"/>
                    </a:lnTo>
                    <a:lnTo>
                      <a:pt x="957" y="0"/>
                    </a:lnTo>
                    <a:close/>
                  </a:path>
                </a:pathLst>
              </a:custGeom>
              <a:solidFill>
                <a:srgbClr val="004195"/>
              </a:solidFill>
              <a:ln w="0">
                <a:noFill/>
                <a:prstDash val="solid"/>
                <a:round/>
              </a:ln>
            </p:spPr>
            <p:txBody>
              <a:bodyPr vert="horz" wrap="square" lIns="91440" tIns="45720" rIns="91440" bIns="45720" numCol="1" anchor="t" anchorCtr="0" compatLnSpc="1"/>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6" name="Freeform 71"/>
              <p:cNvSpPr/>
              <p:nvPr/>
            </p:nvSpPr>
            <p:spPr bwMode="auto">
              <a:xfrm>
                <a:off x="4695826" y="4508500"/>
                <a:ext cx="31750" cy="90488"/>
              </a:xfrm>
              <a:custGeom>
                <a:avLst/>
                <a:gdLst>
                  <a:gd name="T0" fmla="*/ 102 w 204"/>
                  <a:gd name="T1" fmla="*/ 0 h 569"/>
                  <a:gd name="T2" fmla="*/ 125 w 204"/>
                  <a:gd name="T3" fmla="*/ 3 h 569"/>
                  <a:gd name="T4" fmla="*/ 147 w 204"/>
                  <a:gd name="T5" fmla="*/ 10 h 569"/>
                  <a:gd name="T6" fmla="*/ 166 w 204"/>
                  <a:gd name="T7" fmla="*/ 22 h 569"/>
                  <a:gd name="T8" fmla="*/ 182 w 204"/>
                  <a:gd name="T9" fmla="*/ 39 h 569"/>
                  <a:gd name="T10" fmla="*/ 195 w 204"/>
                  <a:gd name="T11" fmla="*/ 57 h 569"/>
                  <a:gd name="T12" fmla="*/ 202 w 204"/>
                  <a:gd name="T13" fmla="*/ 79 h 569"/>
                  <a:gd name="T14" fmla="*/ 204 w 204"/>
                  <a:gd name="T15" fmla="*/ 103 h 569"/>
                  <a:gd name="T16" fmla="*/ 204 w 204"/>
                  <a:gd name="T17" fmla="*/ 466 h 569"/>
                  <a:gd name="T18" fmla="*/ 202 w 204"/>
                  <a:gd name="T19" fmla="*/ 489 h 569"/>
                  <a:gd name="T20" fmla="*/ 195 w 204"/>
                  <a:gd name="T21" fmla="*/ 511 h 569"/>
                  <a:gd name="T22" fmla="*/ 182 w 204"/>
                  <a:gd name="T23" fmla="*/ 530 h 569"/>
                  <a:gd name="T24" fmla="*/ 166 w 204"/>
                  <a:gd name="T25" fmla="*/ 546 h 569"/>
                  <a:gd name="T26" fmla="*/ 147 w 204"/>
                  <a:gd name="T27" fmla="*/ 558 h 569"/>
                  <a:gd name="T28" fmla="*/ 125 w 204"/>
                  <a:gd name="T29" fmla="*/ 566 h 569"/>
                  <a:gd name="T30" fmla="*/ 102 w 204"/>
                  <a:gd name="T31" fmla="*/ 569 h 569"/>
                  <a:gd name="T32" fmla="*/ 78 w 204"/>
                  <a:gd name="T33" fmla="*/ 566 h 569"/>
                  <a:gd name="T34" fmla="*/ 57 w 204"/>
                  <a:gd name="T35" fmla="*/ 558 h 569"/>
                  <a:gd name="T36" fmla="*/ 38 w 204"/>
                  <a:gd name="T37" fmla="*/ 546 h 569"/>
                  <a:gd name="T38" fmla="*/ 22 w 204"/>
                  <a:gd name="T39" fmla="*/ 530 h 569"/>
                  <a:gd name="T40" fmla="*/ 10 w 204"/>
                  <a:gd name="T41" fmla="*/ 511 h 569"/>
                  <a:gd name="T42" fmla="*/ 2 w 204"/>
                  <a:gd name="T43" fmla="*/ 489 h 569"/>
                  <a:gd name="T44" fmla="*/ 0 w 204"/>
                  <a:gd name="T45" fmla="*/ 466 h 569"/>
                  <a:gd name="T46" fmla="*/ 0 w 204"/>
                  <a:gd name="T47" fmla="*/ 103 h 569"/>
                  <a:gd name="T48" fmla="*/ 2 w 204"/>
                  <a:gd name="T49" fmla="*/ 79 h 569"/>
                  <a:gd name="T50" fmla="*/ 10 w 204"/>
                  <a:gd name="T51" fmla="*/ 57 h 569"/>
                  <a:gd name="T52" fmla="*/ 22 w 204"/>
                  <a:gd name="T53" fmla="*/ 39 h 569"/>
                  <a:gd name="T54" fmla="*/ 38 w 204"/>
                  <a:gd name="T55" fmla="*/ 22 h 569"/>
                  <a:gd name="T56" fmla="*/ 57 w 204"/>
                  <a:gd name="T57" fmla="*/ 10 h 569"/>
                  <a:gd name="T58" fmla="*/ 78 w 204"/>
                  <a:gd name="T59" fmla="*/ 3 h 569"/>
                  <a:gd name="T60" fmla="*/ 102 w 204"/>
                  <a:gd name="T61"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4" h="569">
                    <a:moveTo>
                      <a:pt x="102" y="0"/>
                    </a:moveTo>
                    <a:lnTo>
                      <a:pt x="125" y="3"/>
                    </a:lnTo>
                    <a:lnTo>
                      <a:pt x="147" y="10"/>
                    </a:lnTo>
                    <a:lnTo>
                      <a:pt x="166" y="22"/>
                    </a:lnTo>
                    <a:lnTo>
                      <a:pt x="182" y="39"/>
                    </a:lnTo>
                    <a:lnTo>
                      <a:pt x="195" y="57"/>
                    </a:lnTo>
                    <a:lnTo>
                      <a:pt x="202" y="79"/>
                    </a:lnTo>
                    <a:lnTo>
                      <a:pt x="204" y="103"/>
                    </a:lnTo>
                    <a:lnTo>
                      <a:pt x="204" y="466"/>
                    </a:lnTo>
                    <a:lnTo>
                      <a:pt x="202" y="489"/>
                    </a:lnTo>
                    <a:lnTo>
                      <a:pt x="195" y="511"/>
                    </a:lnTo>
                    <a:lnTo>
                      <a:pt x="182" y="530"/>
                    </a:lnTo>
                    <a:lnTo>
                      <a:pt x="166" y="546"/>
                    </a:lnTo>
                    <a:lnTo>
                      <a:pt x="147" y="558"/>
                    </a:lnTo>
                    <a:lnTo>
                      <a:pt x="125" y="566"/>
                    </a:lnTo>
                    <a:lnTo>
                      <a:pt x="102" y="569"/>
                    </a:lnTo>
                    <a:lnTo>
                      <a:pt x="78" y="566"/>
                    </a:lnTo>
                    <a:lnTo>
                      <a:pt x="57" y="558"/>
                    </a:lnTo>
                    <a:lnTo>
                      <a:pt x="38" y="546"/>
                    </a:lnTo>
                    <a:lnTo>
                      <a:pt x="22" y="530"/>
                    </a:lnTo>
                    <a:lnTo>
                      <a:pt x="10" y="511"/>
                    </a:lnTo>
                    <a:lnTo>
                      <a:pt x="2" y="489"/>
                    </a:lnTo>
                    <a:lnTo>
                      <a:pt x="0" y="466"/>
                    </a:lnTo>
                    <a:lnTo>
                      <a:pt x="0" y="103"/>
                    </a:lnTo>
                    <a:lnTo>
                      <a:pt x="2" y="79"/>
                    </a:lnTo>
                    <a:lnTo>
                      <a:pt x="10" y="57"/>
                    </a:lnTo>
                    <a:lnTo>
                      <a:pt x="22" y="39"/>
                    </a:lnTo>
                    <a:lnTo>
                      <a:pt x="38" y="22"/>
                    </a:lnTo>
                    <a:lnTo>
                      <a:pt x="57" y="10"/>
                    </a:lnTo>
                    <a:lnTo>
                      <a:pt x="78" y="3"/>
                    </a:lnTo>
                    <a:lnTo>
                      <a:pt x="102" y="0"/>
                    </a:lnTo>
                    <a:close/>
                  </a:path>
                </a:pathLst>
              </a:custGeom>
              <a:solidFill>
                <a:srgbClr val="004195"/>
              </a:solidFill>
              <a:ln w="0">
                <a:noFill/>
                <a:prstDash val="solid"/>
                <a:round/>
              </a:ln>
            </p:spPr>
            <p:txBody>
              <a:bodyPr vert="horz" wrap="square" lIns="91440" tIns="45720" rIns="91440" bIns="45720" numCol="1" anchor="t" anchorCtr="0" compatLnSpc="1"/>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grpSp>
          <p:nvGrpSpPr>
            <p:cNvPr id="17" name="Group 28"/>
            <p:cNvGrpSpPr/>
            <p:nvPr/>
          </p:nvGrpSpPr>
          <p:grpSpPr>
            <a:xfrm>
              <a:off x="6579" y="4618"/>
              <a:ext cx="564" cy="705"/>
              <a:chOff x="-314325" y="3573463"/>
              <a:chExt cx="487363" cy="609600"/>
            </a:xfrm>
            <a:solidFill>
              <a:schemeClr val="bg1"/>
            </a:solidFill>
          </p:grpSpPr>
          <p:sp>
            <p:nvSpPr>
              <p:cNvPr id="18" name="Freeform 11"/>
              <p:cNvSpPr/>
              <p:nvPr/>
            </p:nvSpPr>
            <p:spPr bwMode="auto">
              <a:xfrm>
                <a:off x="-314325" y="3573463"/>
                <a:ext cx="406400" cy="528638"/>
              </a:xfrm>
              <a:custGeom>
                <a:avLst/>
                <a:gdLst>
                  <a:gd name="T0" fmla="*/ 0 w 2304"/>
                  <a:gd name="T1" fmla="*/ 0 h 2995"/>
                  <a:gd name="T2" fmla="*/ 2304 w 2304"/>
                  <a:gd name="T3" fmla="*/ 0 h 2995"/>
                  <a:gd name="T4" fmla="*/ 2304 w 2304"/>
                  <a:gd name="T5" fmla="*/ 749 h 2995"/>
                  <a:gd name="T6" fmla="*/ 1728 w 2304"/>
                  <a:gd name="T7" fmla="*/ 173 h 2995"/>
                  <a:gd name="T8" fmla="*/ 173 w 2304"/>
                  <a:gd name="T9" fmla="*/ 173 h 2995"/>
                  <a:gd name="T10" fmla="*/ 173 w 2304"/>
                  <a:gd name="T11" fmla="*/ 2995 h 2995"/>
                  <a:gd name="T12" fmla="*/ 0 w 2304"/>
                  <a:gd name="T13" fmla="*/ 2995 h 2995"/>
                  <a:gd name="T14" fmla="*/ 0 w 2304"/>
                  <a:gd name="T15" fmla="*/ 0 h 29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4" h="2995">
                    <a:moveTo>
                      <a:pt x="0" y="0"/>
                    </a:moveTo>
                    <a:lnTo>
                      <a:pt x="2304" y="0"/>
                    </a:lnTo>
                    <a:lnTo>
                      <a:pt x="2304" y="749"/>
                    </a:lnTo>
                    <a:lnTo>
                      <a:pt x="1728" y="173"/>
                    </a:lnTo>
                    <a:lnTo>
                      <a:pt x="173" y="173"/>
                    </a:lnTo>
                    <a:lnTo>
                      <a:pt x="173" y="2995"/>
                    </a:lnTo>
                    <a:lnTo>
                      <a:pt x="0" y="2995"/>
                    </a:lnTo>
                    <a:lnTo>
                      <a:pt x="0" y="0"/>
                    </a:lnTo>
                    <a:close/>
                  </a:path>
                </a:pathLst>
              </a:custGeom>
              <a:grpFill/>
              <a:ln w="0">
                <a:noFill/>
                <a:prstDash val="solid"/>
                <a:round/>
              </a:ln>
            </p:spPr>
            <p:txBody>
              <a:bodyPr vert="horz" wrap="square" lIns="91440" tIns="45720" rIns="91440" bIns="45720" numCol="1" anchor="t" anchorCtr="0" compatLnSpc="1"/>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9" name="Freeform 12"/>
              <p:cNvSpPr>
                <a:spLocks noEditPoints="1"/>
              </p:cNvSpPr>
              <p:nvPr/>
            </p:nvSpPr>
            <p:spPr bwMode="auto">
              <a:xfrm>
                <a:off x="-165100" y="3843338"/>
                <a:ext cx="338138" cy="339725"/>
              </a:xfrm>
              <a:custGeom>
                <a:avLst/>
                <a:gdLst>
                  <a:gd name="T0" fmla="*/ 560 w 1922"/>
                  <a:gd name="T1" fmla="*/ 129 h 1923"/>
                  <a:gd name="T2" fmla="*/ 396 w 1922"/>
                  <a:gd name="T3" fmla="*/ 193 h 1923"/>
                  <a:gd name="T4" fmla="*/ 261 w 1922"/>
                  <a:gd name="T5" fmla="*/ 303 h 1923"/>
                  <a:gd name="T6" fmla="*/ 166 w 1922"/>
                  <a:gd name="T7" fmla="*/ 448 h 1923"/>
                  <a:gd name="T8" fmla="*/ 118 w 1922"/>
                  <a:gd name="T9" fmla="*/ 620 h 1923"/>
                  <a:gd name="T10" fmla="*/ 128 w 1922"/>
                  <a:gd name="T11" fmla="*/ 803 h 1923"/>
                  <a:gd name="T12" fmla="*/ 193 w 1922"/>
                  <a:gd name="T13" fmla="*/ 968 h 1923"/>
                  <a:gd name="T14" fmla="*/ 302 w 1922"/>
                  <a:gd name="T15" fmla="*/ 1102 h 1923"/>
                  <a:gd name="T16" fmla="*/ 447 w 1922"/>
                  <a:gd name="T17" fmla="*/ 1197 h 1923"/>
                  <a:gd name="T18" fmla="*/ 620 w 1922"/>
                  <a:gd name="T19" fmla="*/ 1244 h 1923"/>
                  <a:gd name="T20" fmla="*/ 802 w 1922"/>
                  <a:gd name="T21" fmla="*/ 1235 h 1923"/>
                  <a:gd name="T22" fmla="*/ 967 w 1922"/>
                  <a:gd name="T23" fmla="*/ 1171 h 1923"/>
                  <a:gd name="T24" fmla="*/ 1101 w 1922"/>
                  <a:gd name="T25" fmla="*/ 1061 h 1923"/>
                  <a:gd name="T26" fmla="*/ 1197 w 1922"/>
                  <a:gd name="T27" fmla="*/ 916 h 1923"/>
                  <a:gd name="T28" fmla="*/ 1244 w 1922"/>
                  <a:gd name="T29" fmla="*/ 744 h 1923"/>
                  <a:gd name="T30" fmla="*/ 1234 w 1922"/>
                  <a:gd name="T31" fmla="*/ 560 h 1923"/>
                  <a:gd name="T32" fmla="*/ 1170 w 1922"/>
                  <a:gd name="T33" fmla="*/ 396 h 1923"/>
                  <a:gd name="T34" fmla="*/ 1060 w 1922"/>
                  <a:gd name="T35" fmla="*/ 262 h 1923"/>
                  <a:gd name="T36" fmla="*/ 914 w 1922"/>
                  <a:gd name="T37" fmla="*/ 166 h 1923"/>
                  <a:gd name="T38" fmla="*/ 743 w 1922"/>
                  <a:gd name="T39" fmla="*/ 119 h 1923"/>
                  <a:gd name="T40" fmla="*/ 747 w 1922"/>
                  <a:gd name="T41" fmla="*/ 3 h 1923"/>
                  <a:gd name="T42" fmla="*/ 931 w 1922"/>
                  <a:gd name="T43" fmla="*/ 48 h 1923"/>
                  <a:gd name="T44" fmla="*/ 1094 w 1922"/>
                  <a:gd name="T45" fmla="*/ 139 h 1923"/>
                  <a:gd name="T46" fmla="*/ 1223 w 1922"/>
                  <a:gd name="T47" fmla="*/ 269 h 1923"/>
                  <a:gd name="T48" fmla="*/ 1315 w 1922"/>
                  <a:gd name="T49" fmla="*/ 432 h 1923"/>
                  <a:gd name="T50" fmla="*/ 1360 w 1922"/>
                  <a:gd name="T51" fmla="*/ 616 h 1923"/>
                  <a:gd name="T52" fmla="*/ 1351 w 1922"/>
                  <a:gd name="T53" fmla="*/ 805 h 1923"/>
                  <a:gd name="T54" fmla="*/ 1297 w 1922"/>
                  <a:gd name="T55" fmla="*/ 974 h 1923"/>
                  <a:gd name="T56" fmla="*/ 1201 w 1922"/>
                  <a:gd name="T57" fmla="*/ 1121 h 1923"/>
                  <a:gd name="T58" fmla="*/ 1920 w 1922"/>
                  <a:gd name="T59" fmla="*/ 1851 h 1923"/>
                  <a:gd name="T60" fmla="*/ 1915 w 1922"/>
                  <a:gd name="T61" fmla="*/ 1894 h 1923"/>
                  <a:gd name="T62" fmla="*/ 1879 w 1922"/>
                  <a:gd name="T63" fmla="*/ 1921 h 1923"/>
                  <a:gd name="T64" fmla="*/ 1836 w 1922"/>
                  <a:gd name="T65" fmla="*/ 1916 h 1923"/>
                  <a:gd name="T66" fmla="*/ 1074 w 1922"/>
                  <a:gd name="T67" fmla="*/ 1238 h 1923"/>
                  <a:gd name="T68" fmla="*/ 919 w 1922"/>
                  <a:gd name="T69" fmla="*/ 1321 h 1923"/>
                  <a:gd name="T70" fmla="*/ 744 w 1922"/>
                  <a:gd name="T71" fmla="*/ 1361 h 1923"/>
                  <a:gd name="T72" fmla="*/ 552 w 1922"/>
                  <a:gd name="T73" fmla="*/ 1351 h 1923"/>
                  <a:gd name="T74" fmla="*/ 374 w 1922"/>
                  <a:gd name="T75" fmla="*/ 1290 h 1923"/>
                  <a:gd name="T76" fmla="*/ 222 w 1922"/>
                  <a:gd name="T77" fmla="*/ 1185 h 1923"/>
                  <a:gd name="T78" fmla="*/ 104 w 1922"/>
                  <a:gd name="T79" fmla="*/ 1043 h 1923"/>
                  <a:gd name="T80" fmla="*/ 27 w 1922"/>
                  <a:gd name="T81" fmla="*/ 873 h 1923"/>
                  <a:gd name="T82" fmla="*/ 0 w 1922"/>
                  <a:gd name="T83" fmla="*/ 682 h 1923"/>
                  <a:gd name="T84" fmla="*/ 27 w 1922"/>
                  <a:gd name="T85" fmla="*/ 490 h 1923"/>
                  <a:gd name="T86" fmla="*/ 104 w 1922"/>
                  <a:gd name="T87" fmla="*/ 321 h 1923"/>
                  <a:gd name="T88" fmla="*/ 222 w 1922"/>
                  <a:gd name="T89" fmla="*/ 179 h 1923"/>
                  <a:gd name="T90" fmla="*/ 374 w 1922"/>
                  <a:gd name="T91" fmla="*/ 74 h 1923"/>
                  <a:gd name="T92" fmla="*/ 552 w 1922"/>
                  <a:gd name="T93" fmla="*/ 13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22" h="1923">
                    <a:moveTo>
                      <a:pt x="681" y="115"/>
                    </a:moveTo>
                    <a:lnTo>
                      <a:pt x="620" y="119"/>
                    </a:lnTo>
                    <a:lnTo>
                      <a:pt x="560" y="129"/>
                    </a:lnTo>
                    <a:lnTo>
                      <a:pt x="503" y="145"/>
                    </a:lnTo>
                    <a:lnTo>
                      <a:pt x="447" y="166"/>
                    </a:lnTo>
                    <a:lnTo>
                      <a:pt x="396" y="193"/>
                    </a:lnTo>
                    <a:lnTo>
                      <a:pt x="347" y="225"/>
                    </a:lnTo>
                    <a:lnTo>
                      <a:pt x="302" y="262"/>
                    </a:lnTo>
                    <a:lnTo>
                      <a:pt x="261" y="303"/>
                    </a:lnTo>
                    <a:lnTo>
                      <a:pt x="224" y="348"/>
                    </a:lnTo>
                    <a:lnTo>
                      <a:pt x="193" y="396"/>
                    </a:lnTo>
                    <a:lnTo>
                      <a:pt x="166" y="448"/>
                    </a:lnTo>
                    <a:lnTo>
                      <a:pt x="144" y="503"/>
                    </a:lnTo>
                    <a:lnTo>
                      <a:pt x="128" y="560"/>
                    </a:lnTo>
                    <a:lnTo>
                      <a:pt x="118" y="620"/>
                    </a:lnTo>
                    <a:lnTo>
                      <a:pt x="115" y="682"/>
                    </a:lnTo>
                    <a:lnTo>
                      <a:pt x="118" y="744"/>
                    </a:lnTo>
                    <a:lnTo>
                      <a:pt x="128" y="803"/>
                    </a:lnTo>
                    <a:lnTo>
                      <a:pt x="144" y="861"/>
                    </a:lnTo>
                    <a:lnTo>
                      <a:pt x="166" y="916"/>
                    </a:lnTo>
                    <a:lnTo>
                      <a:pt x="193" y="968"/>
                    </a:lnTo>
                    <a:lnTo>
                      <a:pt x="224" y="1016"/>
                    </a:lnTo>
                    <a:lnTo>
                      <a:pt x="261" y="1061"/>
                    </a:lnTo>
                    <a:lnTo>
                      <a:pt x="302" y="1102"/>
                    </a:lnTo>
                    <a:lnTo>
                      <a:pt x="347" y="1139"/>
                    </a:lnTo>
                    <a:lnTo>
                      <a:pt x="396" y="1171"/>
                    </a:lnTo>
                    <a:lnTo>
                      <a:pt x="447" y="1197"/>
                    </a:lnTo>
                    <a:lnTo>
                      <a:pt x="503" y="1219"/>
                    </a:lnTo>
                    <a:lnTo>
                      <a:pt x="560" y="1235"/>
                    </a:lnTo>
                    <a:lnTo>
                      <a:pt x="620" y="1244"/>
                    </a:lnTo>
                    <a:lnTo>
                      <a:pt x="681" y="1248"/>
                    </a:lnTo>
                    <a:lnTo>
                      <a:pt x="743" y="1244"/>
                    </a:lnTo>
                    <a:lnTo>
                      <a:pt x="802" y="1235"/>
                    </a:lnTo>
                    <a:lnTo>
                      <a:pt x="860" y="1219"/>
                    </a:lnTo>
                    <a:lnTo>
                      <a:pt x="914" y="1197"/>
                    </a:lnTo>
                    <a:lnTo>
                      <a:pt x="967" y="1171"/>
                    </a:lnTo>
                    <a:lnTo>
                      <a:pt x="1015" y="1139"/>
                    </a:lnTo>
                    <a:lnTo>
                      <a:pt x="1060" y="1102"/>
                    </a:lnTo>
                    <a:lnTo>
                      <a:pt x="1101" y="1061"/>
                    </a:lnTo>
                    <a:lnTo>
                      <a:pt x="1138" y="1016"/>
                    </a:lnTo>
                    <a:lnTo>
                      <a:pt x="1170" y="968"/>
                    </a:lnTo>
                    <a:lnTo>
                      <a:pt x="1197" y="916"/>
                    </a:lnTo>
                    <a:lnTo>
                      <a:pt x="1218" y="861"/>
                    </a:lnTo>
                    <a:lnTo>
                      <a:pt x="1234" y="803"/>
                    </a:lnTo>
                    <a:lnTo>
                      <a:pt x="1244" y="744"/>
                    </a:lnTo>
                    <a:lnTo>
                      <a:pt x="1248" y="682"/>
                    </a:lnTo>
                    <a:lnTo>
                      <a:pt x="1244" y="620"/>
                    </a:lnTo>
                    <a:lnTo>
                      <a:pt x="1234" y="560"/>
                    </a:lnTo>
                    <a:lnTo>
                      <a:pt x="1218" y="503"/>
                    </a:lnTo>
                    <a:lnTo>
                      <a:pt x="1197" y="448"/>
                    </a:lnTo>
                    <a:lnTo>
                      <a:pt x="1170" y="396"/>
                    </a:lnTo>
                    <a:lnTo>
                      <a:pt x="1138" y="348"/>
                    </a:lnTo>
                    <a:lnTo>
                      <a:pt x="1101" y="303"/>
                    </a:lnTo>
                    <a:lnTo>
                      <a:pt x="1060" y="262"/>
                    </a:lnTo>
                    <a:lnTo>
                      <a:pt x="1015" y="225"/>
                    </a:lnTo>
                    <a:lnTo>
                      <a:pt x="967" y="193"/>
                    </a:lnTo>
                    <a:lnTo>
                      <a:pt x="914" y="166"/>
                    </a:lnTo>
                    <a:lnTo>
                      <a:pt x="860" y="145"/>
                    </a:lnTo>
                    <a:lnTo>
                      <a:pt x="802" y="129"/>
                    </a:lnTo>
                    <a:lnTo>
                      <a:pt x="743" y="119"/>
                    </a:lnTo>
                    <a:lnTo>
                      <a:pt x="681" y="115"/>
                    </a:lnTo>
                    <a:close/>
                    <a:moveTo>
                      <a:pt x="681" y="0"/>
                    </a:moveTo>
                    <a:lnTo>
                      <a:pt x="747" y="3"/>
                    </a:lnTo>
                    <a:lnTo>
                      <a:pt x="811" y="13"/>
                    </a:lnTo>
                    <a:lnTo>
                      <a:pt x="873" y="27"/>
                    </a:lnTo>
                    <a:lnTo>
                      <a:pt x="931" y="48"/>
                    </a:lnTo>
                    <a:lnTo>
                      <a:pt x="989" y="74"/>
                    </a:lnTo>
                    <a:lnTo>
                      <a:pt x="1042" y="105"/>
                    </a:lnTo>
                    <a:lnTo>
                      <a:pt x="1094" y="139"/>
                    </a:lnTo>
                    <a:lnTo>
                      <a:pt x="1141" y="179"/>
                    </a:lnTo>
                    <a:lnTo>
                      <a:pt x="1184" y="222"/>
                    </a:lnTo>
                    <a:lnTo>
                      <a:pt x="1223" y="269"/>
                    </a:lnTo>
                    <a:lnTo>
                      <a:pt x="1259" y="321"/>
                    </a:lnTo>
                    <a:lnTo>
                      <a:pt x="1289" y="374"/>
                    </a:lnTo>
                    <a:lnTo>
                      <a:pt x="1315" y="432"/>
                    </a:lnTo>
                    <a:lnTo>
                      <a:pt x="1335" y="490"/>
                    </a:lnTo>
                    <a:lnTo>
                      <a:pt x="1350" y="552"/>
                    </a:lnTo>
                    <a:lnTo>
                      <a:pt x="1360" y="616"/>
                    </a:lnTo>
                    <a:lnTo>
                      <a:pt x="1363" y="682"/>
                    </a:lnTo>
                    <a:lnTo>
                      <a:pt x="1360" y="744"/>
                    </a:lnTo>
                    <a:lnTo>
                      <a:pt x="1351" y="805"/>
                    </a:lnTo>
                    <a:lnTo>
                      <a:pt x="1338" y="863"/>
                    </a:lnTo>
                    <a:lnTo>
                      <a:pt x="1320" y="920"/>
                    </a:lnTo>
                    <a:lnTo>
                      <a:pt x="1297" y="974"/>
                    </a:lnTo>
                    <a:lnTo>
                      <a:pt x="1269" y="1025"/>
                    </a:lnTo>
                    <a:lnTo>
                      <a:pt x="1237" y="1075"/>
                    </a:lnTo>
                    <a:lnTo>
                      <a:pt x="1201" y="1121"/>
                    </a:lnTo>
                    <a:lnTo>
                      <a:pt x="1905" y="1825"/>
                    </a:lnTo>
                    <a:lnTo>
                      <a:pt x="1915" y="1837"/>
                    </a:lnTo>
                    <a:lnTo>
                      <a:pt x="1920" y="1851"/>
                    </a:lnTo>
                    <a:lnTo>
                      <a:pt x="1922" y="1865"/>
                    </a:lnTo>
                    <a:lnTo>
                      <a:pt x="1920" y="1880"/>
                    </a:lnTo>
                    <a:lnTo>
                      <a:pt x="1915" y="1894"/>
                    </a:lnTo>
                    <a:lnTo>
                      <a:pt x="1905" y="1906"/>
                    </a:lnTo>
                    <a:lnTo>
                      <a:pt x="1893" y="1916"/>
                    </a:lnTo>
                    <a:lnTo>
                      <a:pt x="1879" y="1921"/>
                    </a:lnTo>
                    <a:lnTo>
                      <a:pt x="1865" y="1923"/>
                    </a:lnTo>
                    <a:lnTo>
                      <a:pt x="1850" y="1921"/>
                    </a:lnTo>
                    <a:lnTo>
                      <a:pt x="1836" y="1916"/>
                    </a:lnTo>
                    <a:lnTo>
                      <a:pt x="1825" y="1906"/>
                    </a:lnTo>
                    <a:lnTo>
                      <a:pt x="1120" y="1202"/>
                    </a:lnTo>
                    <a:lnTo>
                      <a:pt x="1074" y="1238"/>
                    </a:lnTo>
                    <a:lnTo>
                      <a:pt x="1025" y="1270"/>
                    </a:lnTo>
                    <a:lnTo>
                      <a:pt x="973" y="1297"/>
                    </a:lnTo>
                    <a:lnTo>
                      <a:pt x="919" y="1321"/>
                    </a:lnTo>
                    <a:lnTo>
                      <a:pt x="862" y="1339"/>
                    </a:lnTo>
                    <a:lnTo>
                      <a:pt x="803" y="1352"/>
                    </a:lnTo>
                    <a:lnTo>
                      <a:pt x="744" y="1361"/>
                    </a:lnTo>
                    <a:lnTo>
                      <a:pt x="681" y="1364"/>
                    </a:lnTo>
                    <a:lnTo>
                      <a:pt x="616" y="1361"/>
                    </a:lnTo>
                    <a:lnTo>
                      <a:pt x="552" y="1351"/>
                    </a:lnTo>
                    <a:lnTo>
                      <a:pt x="490" y="1337"/>
                    </a:lnTo>
                    <a:lnTo>
                      <a:pt x="431" y="1316"/>
                    </a:lnTo>
                    <a:lnTo>
                      <a:pt x="374" y="1290"/>
                    </a:lnTo>
                    <a:lnTo>
                      <a:pt x="320" y="1259"/>
                    </a:lnTo>
                    <a:lnTo>
                      <a:pt x="269" y="1224"/>
                    </a:lnTo>
                    <a:lnTo>
                      <a:pt x="222" y="1185"/>
                    </a:lnTo>
                    <a:lnTo>
                      <a:pt x="178" y="1142"/>
                    </a:lnTo>
                    <a:lnTo>
                      <a:pt x="138" y="1094"/>
                    </a:lnTo>
                    <a:lnTo>
                      <a:pt x="104" y="1043"/>
                    </a:lnTo>
                    <a:lnTo>
                      <a:pt x="73" y="989"/>
                    </a:lnTo>
                    <a:lnTo>
                      <a:pt x="47" y="932"/>
                    </a:lnTo>
                    <a:lnTo>
                      <a:pt x="27" y="873"/>
                    </a:lnTo>
                    <a:lnTo>
                      <a:pt x="12" y="811"/>
                    </a:lnTo>
                    <a:lnTo>
                      <a:pt x="3" y="747"/>
                    </a:lnTo>
                    <a:lnTo>
                      <a:pt x="0" y="682"/>
                    </a:lnTo>
                    <a:lnTo>
                      <a:pt x="3" y="616"/>
                    </a:lnTo>
                    <a:lnTo>
                      <a:pt x="12" y="552"/>
                    </a:lnTo>
                    <a:lnTo>
                      <a:pt x="27" y="490"/>
                    </a:lnTo>
                    <a:lnTo>
                      <a:pt x="47" y="432"/>
                    </a:lnTo>
                    <a:lnTo>
                      <a:pt x="73" y="374"/>
                    </a:lnTo>
                    <a:lnTo>
                      <a:pt x="104" y="321"/>
                    </a:lnTo>
                    <a:lnTo>
                      <a:pt x="138" y="269"/>
                    </a:lnTo>
                    <a:lnTo>
                      <a:pt x="178" y="222"/>
                    </a:lnTo>
                    <a:lnTo>
                      <a:pt x="222" y="179"/>
                    </a:lnTo>
                    <a:lnTo>
                      <a:pt x="269" y="139"/>
                    </a:lnTo>
                    <a:lnTo>
                      <a:pt x="320" y="105"/>
                    </a:lnTo>
                    <a:lnTo>
                      <a:pt x="374" y="74"/>
                    </a:lnTo>
                    <a:lnTo>
                      <a:pt x="431" y="48"/>
                    </a:lnTo>
                    <a:lnTo>
                      <a:pt x="490" y="27"/>
                    </a:lnTo>
                    <a:lnTo>
                      <a:pt x="552" y="13"/>
                    </a:lnTo>
                    <a:lnTo>
                      <a:pt x="616" y="3"/>
                    </a:lnTo>
                    <a:lnTo>
                      <a:pt x="681" y="0"/>
                    </a:lnTo>
                    <a:close/>
                  </a:path>
                </a:pathLst>
              </a:custGeom>
              <a:grpFill/>
              <a:ln w="0">
                <a:noFill/>
                <a:prstDash val="solid"/>
                <a:round/>
              </a:ln>
            </p:spPr>
            <p:txBody>
              <a:bodyPr vert="horz" wrap="square" lIns="91440" tIns="45720" rIns="91440" bIns="45720" numCol="1" anchor="t" anchorCtr="0" compatLnSpc="1"/>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0" name="Freeform 13"/>
              <p:cNvSpPr/>
              <p:nvPr/>
            </p:nvSpPr>
            <p:spPr bwMode="auto">
              <a:xfrm>
                <a:off x="-111125" y="3979863"/>
                <a:ext cx="131763" cy="20638"/>
              </a:xfrm>
              <a:custGeom>
                <a:avLst/>
                <a:gdLst>
                  <a:gd name="T0" fmla="*/ 58 w 749"/>
                  <a:gd name="T1" fmla="*/ 0 h 115"/>
                  <a:gd name="T2" fmla="*/ 692 w 749"/>
                  <a:gd name="T3" fmla="*/ 0 h 115"/>
                  <a:gd name="T4" fmla="*/ 710 w 749"/>
                  <a:gd name="T5" fmla="*/ 3 h 115"/>
                  <a:gd name="T6" fmla="*/ 726 w 749"/>
                  <a:gd name="T7" fmla="*/ 12 h 115"/>
                  <a:gd name="T8" fmla="*/ 738 w 749"/>
                  <a:gd name="T9" fmla="*/ 24 h 115"/>
                  <a:gd name="T10" fmla="*/ 746 w 749"/>
                  <a:gd name="T11" fmla="*/ 40 h 115"/>
                  <a:gd name="T12" fmla="*/ 749 w 749"/>
                  <a:gd name="T13" fmla="*/ 58 h 115"/>
                  <a:gd name="T14" fmla="*/ 746 w 749"/>
                  <a:gd name="T15" fmla="*/ 75 h 115"/>
                  <a:gd name="T16" fmla="*/ 738 w 749"/>
                  <a:gd name="T17" fmla="*/ 92 h 115"/>
                  <a:gd name="T18" fmla="*/ 726 w 749"/>
                  <a:gd name="T19" fmla="*/ 104 h 115"/>
                  <a:gd name="T20" fmla="*/ 710 w 749"/>
                  <a:gd name="T21" fmla="*/ 112 h 115"/>
                  <a:gd name="T22" fmla="*/ 692 w 749"/>
                  <a:gd name="T23" fmla="*/ 115 h 115"/>
                  <a:gd name="T24" fmla="*/ 58 w 749"/>
                  <a:gd name="T25" fmla="*/ 115 h 115"/>
                  <a:gd name="T26" fmla="*/ 40 w 749"/>
                  <a:gd name="T27" fmla="*/ 112 h 115"/>
                  <a:gd name="T28" fmla="*/ 24 w 749"/>
                  <a:gd name="T29" fmla="*/ 104 h 115"/>
                  <a:gd name="T30" fmla="*/ 12 w 749"/>
                  <a:gd name="T31" fmla="*/ 92 h 115"/>
                  <a:gd name="T32" fmla="*/ 3 w 749"/>
                  <a:gd name="T33" fmla="*/ 75 h 115"/>
                  <a:gd name="T34" fmla="*/ 0 w 749"/>
                  <a:gd name="T35" fmla="*/ 58 h 115"/>
                  <a:gd name="T36" fmla="*/ 3 w 749"/>
                  <a:gd name="T37" fmla="*/ 40 h 115"/>
                  <a:gd name="T38" fmla="*/ 12 w 749"/>
                  <a:gd name="T39" fmla="*/ 24 h 115"/>
                  <a:gd name="T40" fmla="*/ 24 w 749"/>
                  <a:gd name="T41" fmla="*/ 12 h 115"/>
                  <a:gd name="T42" fmla="*/ 40 w 749"/>
                  <a:gd name="T43" fmla="*/ 3 h 115"/>
                  <a:gd name="T44" fmla="*/ 58 w 749"/>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9" h="115">
                    <a:moveTo>
                      <a:pt x="58" y="0"/>
                    </a:moveTo>
                    <a:lnTo>
                      <a:pt x="692" y="0"/>
                    </a:lnTo>
                    <a:lnTo>
                      <a:pt x="710" y="3"/>
                    </a:lnTo>
                    <a:lnTo>
                      <a:pt x="726" y="12"/>
                    </a:lnTo>
                    <a:lnTo>
                      <a:pt x="738" y="24"/>
                    </a:lnTo>
                    <a:lnTo>
                      <a:pt x="746" y="40"/>
                    </a:lnTo>
                    <a:lnTo>
                      <a:pt x="749" y="58"/>
                    </a:lnTo>
                    <a:lnTo>
                      <a:pt x="746" y="75"/>
                    </a:lnTo>
                    <a:lnTo>
                      <a:pt x="738" y="92"/>
                    </a:lnTo>
                    <a:lnTo>
                      <a:pt x="726" y="104"/>
                    </a:lnTo>
                    <a:lnTo>
                      <a:pt x="710" y="112"/>
                    </a:lnTo>
                    <a:lnTo>
                      <a:pt x="692" y="115"/>
                    </a:lnTo>
                    <a:lnTo>
                      <a:pt x="58" y="115"/>
                    </a:lnTo>
                    <a:lnTo>
                      <a:pt x="40" y="112"/>
                    </a:lnTo>
                    <a:lnTo>
                      <a:pt x="24" y="104"/>
                    </a:lnTo>
                    <a:lnTo>
                      <a:pt x="12" y="92"/>
                    </a:lnTo>
                    <a:lnTo>
                      <a:pt x="3" y="75"/>
                    </a:lnTo>
                    <a:lnTo>
                      <a:pt x="0" y="58"/>
                    </a:lnTo>
                    <a:lnTo>
                      <a:pt x="3" y="40"/>
                    </a:lnTo>
                    <a:lnTo>
                      <a:pt x="12" y="24"/>
                    </a:lnTo>
                    <a:lnTo>
                      <a:pt x="24" y="12"/>
                    </a:lnTo>
                    <a:lnTo>
                      <a:pt x="40" y="3"/>
                    </a:lnTo>
                    <a:lnTo>
                      <a:pt x="58" y="0"/>
                    </a:lnTo>
                    <a:close/>
                  </a:path>
                </a:pathLst>
              </a:custGeom>
              <a:grpFill/>
              <a:ln w="0">
                <a:noFill/>
                <a:prstDash val="solid"/>
                <a:round/>
              </a:ln>
            </p:spPr>
            <p:txBody>
              <a:bodyPr vert="horz" wrap="square" lIns="91440" tIns="45720" rIns="91440" bIns="45720" numCol="1" anchor="t" anchorCtr="0" compatLnSpc="1"/>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1" name="Freeform 14"/>
              <p:cNvSpPr/>
              <p:nvPr/>
            </p:nvSpPr>
            <p:spPr bwMode="auto">
              <a:xfrm>
                <a:off x="-111125" y="3919538"/>
                <a:ext cx="80963" cy="19050"/>
              </a:xfrm>
              <a:custGeom>
                <a:avLst/>
                <a:gdLst>
                  <a:gd name="T0" fmla="*/ 58 w 461"/>
                  <a:gd name="T1" fmla="*/ 0 h 116"/>
                  <a:gd name="T2" fmla="*/ 404 w 461"/>
                  <a:gd name="T3" fmla="*/ 0 h 116"/>
                  <a:gd name="T4" fmla="*/ 422 w 461"/>
                  <a:gd name="T5" fmla="*/ 4 h 116"/>
                  <a:gd name="T6" fmla="*/ 438 w 461"/>
                  <a:gd name="T7" fmla="*/ 12 h 116"/>
                  <a:gd name="T8" fmla="*/ 450 w 461"/>
                  <a:gd name="T9" fmla="*/ 24 h 116"/>
                  <a:gd name="T10" fmla="*/ 458 w 461"/>
                  <a:gd name="T11" fmla="*/ 40 h 116"/>
                  <a:gd name="T12" fmla="*/ 461 w 461"/>
                  <a:gd name="T13" fmla="*/ 58 h 116"/>
                  <a:gd name="T14" fmla="*/ 458 w 461"/>
                  <a:gd name="T15" fmla="*/ 76 h 116"/>
                  <a:gd name="T16" fmla="*/ 450 w 461"/>
                  <a:gd name="T17" fmla="*/ 92 h 116"/>
                  <a:gd name="T18" fmla="*/ 438 w 461"/>
                  <a:gd name="T19" fmla="*/ 104 h 116"/>
                  <a:gd name="T20" fmla="*/ 422 w 461"/>
                  <a:gd name="T21" fmla="*/ 112 h 116"/>
                  <a:gd name="T22" fmla="*/ 404 w 461"/>
                  <a:gd name="T23" fmla="*/ 116 h 116"/>
                  <a:gd name="T24" fmla="*/ 58 w 461"/>
                  <a:gd name="T25" fmla="*/ 116 h 116"/>
                  <a:gd name="T26" fmla="*/ 40 w 461"/>
                  <a:gd name="T27" fmla="*/ 112 h 116"/>
                  <a:gd name="T28" fmla="*/ 24 w 461"/>
                  <a:gd name="T29" fmla="*/ 104 h 116"/>
                  <a:gd name="T30" fmla="*/ 12 w 461"/>
                  <a:gd name="T31" fmla="*/ 92 h 116"/>
                  <a:gd name="T32" fmla="*/ 3 w 461"/>
                  <a:gd name="T33" fmla="*/ 76 h 116"/>
                  <a:gd name="T34" fmla="*/ 0 w 461"/>
                  <a:gd name="T35" fmla="*/ 58 h 116"/>
                  <a:gd name="T36" fmla="*/ 3 w 461"/>
                  <a:gd name="T37" fmla="*/ 40 h 116"/>
                  <a:gd name="T38" fmla="*/ 12 w 461"/>
                  <a:gd name="T39" fmla="*/ 24 h 116"/>
                  <a:gd name="T40" fmla="*/ 24 w 461"/>
                  <a:gd name="T41" fmla="*/ 12 h 116"/>
                  <a:gd name="T42" fmla="*/ 40 w 461"/>
                  <a:gd name="T43" fmla="*/ 4 h 116"/>
                  <a:gd name="T44" fmla="*/ 58 w 461"/>
                  <a:gd name="T4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1" h="115">
                    <a:moveTo>
                      <a:pt x="58" y="0"/>
                    </a:moveTo>
                    <a:lnTo>
                      <a:pt x="404" y="0"/>
                    </a:lnTo>
                    <a:lnTo>
                      <a:pt x="422" y="4"/>
                    </a:lnTo>
                    <a:lnTo>
                      <a:pt x="438" y="12"/>
                    </a:lnTo>
                    <a:lnTo>
                      <a:pt x="450" y="24"/>
                    </a:lnTo>
                    <a:lnTo>
                      <a:pt x="458" y="40"/>
                    </a:lnTo>
                    <a:lnTo>
                      <a:pt x="461" y="58"/>
                    </a:lnTo>
                    <a:lnTo>
                      <a:pt x="458" y="76"/>
                    </a:lnTo>
                    <a:lnTo>
                      <a:pt x="450" y="92"/>
                    </a:lnTo>
                    <a:lnTo>
                      <a:pt x="438" y="104"/>
                    </a:lnTo>
                    <a:lnTo>
                      <a:pt x="422" y="112"/>
                    </a:lnTo>
                    <a:lnTo>
                      <a:pt x="404" y="116"/>
                    </a:lnTo>
                    <a:lnTo>
                      <a:pt x="58" y="116"/>
                    </a:lnTo>
                    <a:lnTo>
                      <a:pt x="40" y="112"/>
                    </a:lnTo>
                    <a:lnTo>
                      <a:pt x="24" y="104"/>
                    </a:lnTo>
                    <a:lnTo>
                      <a:pt x="12" y="92"/>
                    </a:lnTo>
                    <a:lnTo>
                      <a:pt x="3" y="76"/>
                    </a:lnTo>
                    <a:lnTo>
                      <a:pt x="0" y="58"/>
                    </a:lnTo>
                    <a:lnTo>
                      <a:pt x="3" y="40"/>
                    </a:lnTo>
                    <a:lnTo>
                      <a:pt x="12" y="24"/>
                    </a:lnTo>
                    <a:lnTo>
                      <a:pt x="24" y="12"/>
                    </a:lnTo>
                    <a:lnTo>
                      <a:pt x="40" y="4"/>
                    </a:lnTo>
                    <a:lnTo>
                      <a:pt x="58" y="0"/>
                    </a:lnTo>
                    <a:close/>
                  </a:path>
                </a:pathLst>
              </a:custGeom>
              <a:grpFill/>
              <a:ln w="0">
                <a:noFill/>
                <a:prstDash val="solid"/>
                <a:round/>
              </a:ln>
            </p:spPr>
            <p:txBody>
              <a:bodyPr vert="horz" wrap="square" lIns="91440" tIns="45720" rIns="91440" bIns="45720" numCol="1" anchor="t" anchorCtr="0" compatLnSpc="1"/>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2" name="Freeform 15"/>
              <p:cNvSpPr>
                <a:spLocks noEditPoints="1"/>
              </p:cNvSpPr>
              <p:nvPr/>
            </p:nvSpPr>
            <p:spPr bwMode="auto">
              <a:xfrm>
                <a:off x="-263525" y="3624263"/>
                <a:ext cx="406400" cy="528638"/>
              </a:xfrm>
              <a:custGeom>
                <a:avLst/>
                <a:gdLst>
                  <a:gd name="T0" fmla="*/ 1329 w 2304"/>
                  <a:gd name="T1" fmla="*/ 126 h 2995"/>
                  <a:gd name="T2" fmla="*/ 1326 w 2304"/>
                  <a:gd name="T3" fmla="*/ 129 h 2995"/>
                  <a:gd name="T4" fmla="*/ 1325 w 2304"/>
                  <a:gd name="T5" fmla="*/ 979 h 2995"/>
                  <a:gd name="T6" fmla="*/ 2175 w 2304"/>
                  <a:gd name="T7" fmla="*/ 979 h 2995"/>
                  <a:gd name="T8" fmla="*/ 2180 w 2304"/>
                  <a:gd name="T9" fmla="*/ 975 h 2995"/>
                  <a:gd name="T10" fmla="*/ 2180 w 2304"/>
                  <a:gd name="T11" fmla="*/ 970 h 2995"/>
                  <a:gd name="T12" fmla="*/ 1337 w 2304"/>
                  <a:gd name="T13" fmla="*/ 127 h 2995"/>
                  <a:gd name="T14" fmla="*/ 1332 w 2304"/>
                  <a:gd name="T15" fmla="*/ 125 h 2995"/>
                  <a:gd name="T16" fmla="*/ 1407 w 2304"/>
                  <a:gd name="T17" fmla="*/ 0 h 2995"/>
                  <a:gd name="T18" fmla="*/ 2304 w 2304"/>
                  <a:gd name="T19" fmla="*/ 2751 h 2995"/>
                  <a:gd name="T20" fmla="*/ 1940 w 2304"/>
                  <a:gd name="T21" fmla="*/ 2300 h 2995"/>
                  <a:gd name="T22" fmla="*/ 1990 w 2304"/>
                  <a:gd name="T23" fmla="*/ 2184 h 2995"/>
                  <a:gd name="T24" fmla="*/ 2021 w 2304"/>
                  <a:gd name="T25" fmla="*/ 2059 h 2995"/>
                  <a:gd name="T26" fmla="*/ 2033 w 2304"/>
                  <a:gd name="T27" fmla="*/ 1927 h 2995"/>
                  <a:gd name="T28" fmla="*/ 2020 w 2304"/>
                  <a:gd name="T29" fmla="*/ 1784 h 2995"/>
                  <a:gd name="T30" fmla="*/ 1983 w 2304"/>
                  <a:gd name="T31" fmla="*/ 1649 h 2995"/>
                  <a:gd name="T32" fmla="*/ 1924 w 2304"/>
                  <a:gd name="T33" fmla="*/ 1525 h 2995"/>
                  <a:gd name="T34" fmla="*/ 1845 w 2304"/>
                  <a:gd name="T35" fmla="*/ 1414 h 2995"/>
                  <a:gd name="T36" fmla="*/ 1749 w 2304"/>
                  <a:gd name="T37" fmla="*/ 1317 h 2995"/>
                  <a:gd name="T38" fmla="*/ 1638 w 2304"/>
                  <a:gd name="T39" fmla="*/ 1239 h 2995"/>
                  <a:gd name="T40" fmla="*/ 1513 w 2304"/>
                  <a:gd name="T41" fmla="*/ 1180 h 2995"/>
                  <a:gd name="T42" fmla="*/ 1379 w 2304"/>
                  <a:gd name="T43" fmla="*/ 1144 h 2995"/>
                  <a:gd name="T44" fmla="*/ 1236 w 2304"/>
                  <a:gd name="T45" fmla="*/ 1130 h 2995"/>
                  <a:gd name="T46" fmla="*/ 1093 w 2304"/>
                  <a:gd name="T47" fmla="*/ 1144 h 2995"/>
                  <a:gd name="T48" fmla="*/ 958 w 2304"/>
                  <a:gd name="T49" fmla="*/ 1180 h 2995"/>
                  <a:gd name="T50" fmla="*/ 835 w 2304"/>
                  <a:gd name="T51" fmla="*/ 1239 h 2995"/>
                  <a:gd name="T52" fmla="*/ 724 w 2304"/>
                  <a:gd name="T53" fmla="*/ 1317 h 2995"/>
                  <a:gd name="T54" fmla="*/ 627 w 2304"/>
                  <a:gd name="T55" fmla="*/ 1414 h 2995"/>
                  <a:gd name="T56" fmla="*/ 549 w 2304"/>
                  <a:gd name="T57" fmla="*/ 1525 h 2995"/>
                  <a:gd name="T58" fmla="*/ 490 w 2304"/>
                  <a:gd name="T59" fmla="*/ 1649 h 2995"/>
                  <a:gd name="T60" fmla="*/ 452 w 2304"/>
                  <a:gd name="T61" fmla="*/ 1784 h 2995"/>
                  <a:gd name="T62" fmla="*/ 440 w 2304"/>
                  <a:gd name="T63" fmla="*/ 1927 h 2995"/>
                  <a:gd name="T64" fmla="*/ 452 w 2304"/>
                  <a:gd name="T65" fmla="*/ 2069 h 2995"/>
                  <a:gd name="T66" fmla="*/ 490 w 2304"/>
                  <a:gd name="T67" fmla="*/ 2205 h 2995"/>
                  <a:gd name="T68" fmla="*/ 549 w 2304"/>
                  <a:gd name="T69" fmla="*/ 2328 h 2995"/>
                  <a:gd name="T70" fmla="*/ 627 w 2304"/>
                  <a:gd name="T71" fmla="*/ 2440 h 2995"/>
                  <a:gd name="T72" fmla="*/ 724 w 2304"/>
                  <a:gd name="T73" fmla="*/ 2535 h 2995"/>
                  <a:gd name="T74" fmla="*/ 835 w 2304"/>
                  <a:gd name="T75" fmla="*/ 2614 h 2995"/>
                  <a:gd name="T76" fmla="*/ 958 w 2304"/>
                  <a:gd name="T77" fmla="*/ 2674 h 2995"/>
                  <a:gd name="T78" fmla="*/ 1093 w 2304"/>
                  <a:gd name="T79" fmla="*/ 2710 h 2995"/>
                  <a:gd name="T80" fmla="*/ 1236 w 2304"/>
                  <a:gd name="T81" fmla="*/ 2723 h 2995"/>
                  <a:gd name="T82" fmla="*/ 1368 w 2304"/>
                  <a:gd name="T83" fmla="*/ 2712 h 2995"/>
                  <a:gd name="T84" fmla="*/ 1492 w 2304"/>
                  <a:gd name="T85" fmla="*/ 2681 h 2995"/>
                  <a:gd name="T86" fmla="*/ 1609 w 2304"/>
                  <a:gd name="T87" fmla="*/ 2630 h 2995"/>
                  <a:gd name="T88" fmla="*/ 2060 w 2304"/>
                  <a:gd name="T89" fmla="*/ 2995 h 2995"/>
                  <a:gd name="T90" fmla="*/ 0 w 2304"/>
                  <a:gd name="T91" fmla="*/ 0 h 2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4" h="2995">
                    <a:moveTo>
                      <a:pt x="1332" y="125"/>
                    </a:moveTo>
                    <a:lnTo>
                      <a:pt x="1329" y="126"/>
                    </a:lnTo>
                    <a:lnTo>
                      <a:pt x="1327" y="127"/>
                    </a:lnTo>
                    <a:lnTo>
                      <a:pt x="1326" y="129"/>
                    </a:lnTo>
                    <a:lnTo>
                      <a:pt x="1325" y="132"/>
                    </a:lnTo>
                    <a:lnTo>
                      <a:pt x="1325" y="979"/>
                    </a:lnTo>
                    <a:lnTo>
                      <a:pt x="2172" y="979"/>
                    </a:lnTo>
                    <a:lnTo>
                      <a:pt x="2175" y="979"/>
                    </a:lnTo>
                    <a:lnTo>
                      <a:pt x="2177" y="977"/>
                    </a:lnTo>
                    <a:lnTo>
                      <a:pt x="2180" y="975"/>
                    </a:lnTo>
                    <a:lnTo>
                      <a:pt x="2180" y="973"/>
                    </a:lnTo>
                    <a:lnTo>
                      <a:pt x="2180" y="970"/>
                    </a:lnTo>
                    <a:lnTo>
                      <a:pt x="2177" y="968"/>
                    </a:lnTo>
                    <a:lnTo>
                      <a:pt x="1337" y="127"/>
                    </a:lnTo>
                    <a:lnTo>
                      <a:pt x="1334" y="126"/>
                    </a:lnTo>
                    <a:lnTo>
                      <a:pt x="1332" y="125"/>
                    </a:lnTo>
                    <a:close/>
                    <a:moveTo>
                      <a:pt x="0" y="0"/>
                    </a:moveTo>
                    <a:lnTo>
                      <a:pt x="1407" y="0"/>
                    </a:lnTo>
                    <a:lnTo>
                      <a:pt x="2304" y="898"/>
                    </a:lnTo>
                    <a:lnTo>
                      <a:pt x="2304" y="2751"/>
                    </a:lnTo>
                    <a:lnTo>
                      <a:pt x="1907" y="2354"/>
                    </a:lnTo>
                    <a:lnTo>
                      <a:pt x="1940" y="2300"/>
                    </a:lnTo>
                    <a:lnTo>
                      <a:pt x="1967" y="2242"/>
                    </a:lnTo>
                    <a:lnTo>
                      <a:pt x="1990" y="2184"/>
                    </a:lnTo>
                    <a:lnTo>
                      <a:pt x="2009" y="2122"/>
                    </a:lnTo>
                    <a:lnTo>
                      <a:pt x="2021" y="2059"/>
                    </a:lnTo>
                    <a:lnTo>
                      <a:pt x="2030" y="1994"/>
                    </a:lnTo>
                    <a:lnTo>
                      <a:pt x="2033" y="1927"/>
                    </a:lnTo>
                    <a:lnTo>
                      <a:pt x="2030" y="1855"/>
                    </a:lnTo>
                    <a:lnTo>
                      <a:pt x="2020" y="1784"/>
                    </a:lnTo>
                    <a:lnTo>
                      <a:pt x="2005" y="1715"/>
                    </a:lnTo>
                    <a:lnTo>
                      <a:pt x="1983" y="1649"/>
                    </a:lnTo>
                    <a:lnTo>
                      <a:pt x="1956" y="1586"/>
                    </a:lnTo>
                    <a:lnTo>
                      <a:pt x="1924" y="1525"/>
                    </a:lnTo>
                    <a:lnTo>
                      <a:pt x="1887" y="1468"/>
                    </a:lnTo>
                    <a:lnTo>
                      <a:pt x="1845" y="1414"/>
                    </a:lnTo>
                    <a:lnTo>
                      <a:pt x="1799" y="1364"/>
                    </a:lnTo>
                    <a:lnTo>
                      <a:pt x="1749" y="1317"/>
                    </a:lnTo>
                    <a:lnTo>
                      <a:pt x="1696" y="1277"/>
                    </a:lnTo>
                    <a:lnTo>
                      <a:pt x="1638" y="1239"/>
                    </a:lnTo>
                    <a:lnTo>
                      <a:pt x="1577" y="1208"/>
                    </a:lnTo>
                    <a:lnTo>
                      <a:pt x="1513" y="1180"/>
                    </a:lnTo>
                    <a:lnTo>
                      <a:pt x="1447" y="1159"/>
                    </a:lnTo>
                    <a:lnTo>
                      <a:pt x="1379" y="1144"/>
                    </a:lnTo>
                    <a:lnTo>
                      <a:pt x="1309" y="1133"/>
                    </a:lnTo>
                    <a:lnTo>
                      <a:pt x="1236" y="1130"/>
                    </a:lnTo>
                    <a:lnTo>
                      <a:pt x="1164" y="1133"/>
                    </a:lnTo>
                    <a:lnTo>
                      <a:pt x="1093" y="1144"/>
                    </a:lnTo>
                    <a:lnTo>
                      <a:pt x="1024" y="1159"/>
                    </a:lnTo>
                    <a:lnTo>
                      <a:pt x="958" y="1180"/>
                    </a:lnTo>
                    <a:lnTo>
                      <a:pt x="895" y="1208"/>
                    </a:lnTo>
                    <a:lnTo>
                      <a:pt x="835" y="1239"/>
                    </a:lnTo>
                    <a:lnTo>
                      <a:pt x="777" y="1277"/>
                    </a:lnTo>
                    <a:lnTo>
                      <a:pt x="724" y="1317"/>
                    </a:lnTo>
                    <a:lnTo>
                      <a:pt x="673" y="1364"/>
                    </a:lnTo>
                    <a:lnTo>
                      <a:pt x="627" y="1414"/>
                    </a:lnTo>
                    <a:lnTo>
                      <a:pt x="585" y="1468"/>
                    </a:lnTo>
                    <a:lnTo>
                      <a:pt x="549" y="1525"/>
                    </a:lnTo>
                    <a:lnTo>
                      <a:pt x="516" y="1586"/>
                    </a:lnTo>
                    <a:lnTo>
                      <a:pt x="490" y="1649"/>
                    </a:lnTo>
                    <a:lnTo>
                      <a:pt x="468" y="1715"/>
                    </a:lnTo>
                    <a:lnTo>
                      <a:pt x="452" y="1784"/>
                    </a:lnTo>
                    <a:lnTo>
                      <a:pt x="443" y="1855"/>
                    </a:lnTo>
                    <a:lnTo>
                      <a:pt x="440" y="1927"/>
                    </a:lnTo>
                    <a:lnTo>
                      <a:pt x="443" y="1999"/>
                    </a:lnTo>
                    <a:lnTo>
                      <a:pt x="452" y="2069"/>
                    </a:lnTo>
                    <a:lnTo>
                      <a:pt x="468" y="2139"/>
                    </a:lnTo>
                    <a:lnTo>
                      <a:pt x="490" y="2205"/>
                    </a:lnTo>
                    <a:lnTo>
                      <a:pt x="516" y="2268"/>
                    </a:lnTo>
                    <a:lnTo>
                      <a:pt x="549" y="2328"/>
                    </a:lnTo>
                    <a:lnTo>
                      <a:pt x="585" y="2386"/>
                    </a:lnTo>
                    <a:lnTo>
                      <a:pt x="627" y="2440"/>
                    </a:lnTo>
                    <a:lnTo>
                      <a:pt x="673" y="2489"/>
                    </a:lnTo>
                    <a:lnTo>
                      <a:pt x="724" y="2535"/>
                    </a:lnTo>
                    <a:lnTo>
                      <a:pt x="777" y="2577"/>
                    </a:lnTo>
                    <a:lnTo>
                      <a:pt x="835" y="2614"/>
                    </a:lnTo>
                    <a:lnTo>
                      <a:pt x="895" y="2646"/>
                    </a:lnTo>
                    <a:lnTo>
                      <a:pt x="958" y="2674"/>
                    </a:lnTo>
                    <a:lnTo>
                      <a:pt x="1024" y="2695"/>
                    </a:lnTo>
                    <a:lnTo>
                      <a:pt x="1093" y="2710"/>
                    </a:lnTo>
                    <a:lnTo>
                      <a:pt x="1164" y="2720"/>
                    </a:lnTo>
                    <a:lnTo>
                      <a:pt x="1236" y="2723"/>
                    </a:lnTo>
                    <a:lnTo>
                      <a:pt x="1303" y="2721"/>
                    </a:lnTo>
                    <a:lnTo>
                      <a:pt x="1368" y="2712"/>
                    </a:lnTo>
                    <a:lnTo>
                      <a:pt x="1432" y="2699"/>
                    </a:lnTo>
                    <a:lnTo>
                      <a:pt x="1492" y="2681"/>
                    </a:lnTo>
                    <a:lnTo>
                      <a:pt x="1552" y="2657"/>
                    </a:lnTo>
                    <a:lnTo>
                      <a:pt x="1609" y="2630"/>
                    </a:lnTo>
                    <a:lnTo>
                      <a:pt x="1663" y="2598"/>
                    </a:lnTo>
                    <a:lnTo>
                      <a:pt x="2060" y="2995"/>
                    </a:lnTo>
                    <a:lnTo>
                      <a:pt x="0" y="2995"/>
                    </a:lnTo>
                    <a:lnTo>
                      <a:pt x="0" y="0"/>
                    </a:lnTo>
                    <a:close/>
                  </a:path>
                </a:pathLst>
              </a:custGeom>
              <a:grpFill/>
              <a:ln w="0">
                <a:noFill/>
                <a:prstDash val="solid"/>
                <a:round/>
              </a:ln>
            </p:spPr>
            <p:txBody>
              <a:bodyPr vert="horz" wrap="square" lIns="91440" tIns="45720" rIns="91440" bIns="45720" numCol="1" anchor="t" anchorCtr="0" compatLnSpc="1"/>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sp>
          <p:nvSpPr>
            <p:cNvPr id="23" name="Freeform 76"/>
            <p:cNvSpPr/>
            <p:nvPr/>
          </p:nvSpPr>
          <p:spPr bwMode="auto">
            <a:xfrm>
              <a:off x="12201" y="4620"/>
              <a:ext cx="627" cy="705"/>
            </a:xfrm>
            <a:custGeom>
              <a:avLst/>
              <a:gdLst>
                <a:gd name="connsiteX0" fmla="*/ 941387 w 4484687"/>
                <a:gd name="connsiteY0" fmla="*/ 3479800 h 5043488"/>
                <a:gd name="connsiteX1" fmla="*/ 1920875 w 4484687"/>
                <a:gd name="connsiteY1" fmla="*/ 3479800 h 5043488"/>
                <a:gd name="connsiteX2" fmla="*/ 1901031 w 4484687"/>
                <a:gd name="connsiteY2" fmla="*/ 3562157 h 5043488"/>
                <a:gd name="connsiteX3" fmla="*/ 1887538 w 4484687"/>
                <a:gd name="connsiteY3" fmla="*/ 3645306 h 5043488"/>
                <a:gd name="connsiteX4" fmla="*/ 1876425 w 4484687"/>
                <a:gd name="connsiteY4" fmla="*/ 3730830 h 5043488"/>
                <a:gd name="connsiteX5" fmla="*/ 1873250 w 4484687"/>
                <a:gd name="connsiteY5" fmla="*/ 3817938 h 5043488"/>
                <a:gd name="connsiteX6" fmla="*/ 941387 w 4484687"/>
                <a:gd name="connsiteY6" fmla="*/ 3817938 h 5043488"/>
                <a:gd name="connsiteX7" fmla="*/ 903287 w 4484687"/>
                <a:gd name="connsiteY7" fmla="*/ 3813187 h 5043488"/>
                <a:gd name="connsiteX8" fmla="*/ 865981 w 4484687"/>
                <a:gd name="connsiteY8" fmla="*/ 3799725 h 5043488"/>
                <a:gd name="connsiteX9" fmla="*/ 835819 w 4484687"/>
                <a:gd name="connsiteY9" fmla="*/ 3779927 h 5043488"/>
                <a:gd name="connsiteX10" fmla="*/ 809625 w 4484687"/>
                <a:gd name="connsiteY10" fmla="*/ 3753795 h 5043488"/>
                <a:gd name="connsiteX11" fmla="*/ 789781 w 4484687"/>
                <a:gd name="connsiteY11" fmla="*/ 3722911 h 5043488"/>
                <a:gd name="connsiteX12" fmla="*/ 777081 w 4484687"/>
                <a:gd name="connsiteY12" fmla="*/ 3688068 h 5043488"/>
                <a:gd name="connsiteX13" fmla="*/ 773112 w 4484687"/>
                <a:gd name="connsiteY13" fmla="*/ 3647681 h 5043488"/>
                <a:gd name="connsiteX14" fmla="*/ 777081 w 4484687"/>
                <a:gd name="connsiteY14" fmla="*/ 3609671 h 5043488"/>
                <a:gd name="connsiteX15" fmla="*/ 789781 w 4484687"/>
                <a:gd name="connsiteY15" fmla="*/ 3574827 h 5043488"/>
                <a:gd name="connsiteX16" fmla="*/ 809625 w 4484687"/>
                <a:gd name="connsiteY16" fmla="*/ 3542360 h 5043488"/>
                <a:gd name="connsiteX17" fmla="*/ 835819 w 4484687"/>
                <a:gd name="connsiteY17" fmla="*/ 3516227 h 5043488"/>
                <a:gd name="connsiteX18" fmla="*/ 865981 w 4484687"/>
                <a:gd name="connsiteY18" fmla="*/ 3496430 h 5043488"/>
                <a:gd name="connsiteX19" fmla="*/ 903287 w 4484687"/>
                <a:gd name="connsiteY19" fmla="*/ 3484552 h 5043488"/>
                <a:gd name="connsiteX20" fmla="*/ 941387 w 4484687"/>
                <a:gd name="connsiteY20" fmla="*/ 2803525 h 5043488"/>
                <a:gd name="connsiteX21" fmla="*/ 2091531 w 4484687"/>
                <a:gd name="connsiteY21" fmla="*/ 2803525 h 5043488"/>
                <a:gd name="connsiteX22" fmla="*/ 2131219 w 4484687"/>
                <a:gd name="connsiteY22" fmla="*/ 2807494 h 5043488"/>
                <a:gd name="connsiteX23" fmla="*/ 2166144 w 4484687"/>
                <a:gd name="connsiteY23" fmla="*/ 2821781 h 5043488"/>
                <a:gd name="connsiteX24" fmla="*/ 2198688 w 4484687"/>
                <a:gd name="connsiteY24" fmla="*/ 2841625 h 5043488"/>
                <a:gd name="connsiteX25" fmla="*/ 2224881 w 4484687"/>
                <a:gd name="connsiteY25" fmla="*/ 2869406 h 5043488"/>
                <a:gd name="connsiteX26" fmla="*/ 2244725 w 4484687"/>
                <a:gd name="connsiteY26" fmla="*/ 2901156 h 5043488"/>
                <a:gd name="connsiteX27" fmla="*/ 2178844 w 4484687"/>
                <a:gd name="connsiteY27" fmla="*/ 2976563 h 5043488"/>
                <a:gd name="connsiteX28" fmla="*/ 2119313 w 4484687"/>
                <a:gd name="connsiteY28" fmla="*/ 3055938 h 5043488"/>
                <a:gd name="connsiteX29" fmla="*/ 2063750 w 4484687"/>
                <a:gd name="connsiteY29" fmla="*/ 3140075 h 5043488"/>
                <a:gd name="connsiteX30" fmla="*/ 941387 w 4484687"/>
                <a:gd name="connsiteY30" fmla="*/ 3140075 h 5043488"/>
                <a:gd name="connsiteX31" fmla="*/ 903287 w 4484687"/>
                <a:gd name="connsiteY31" fmla="*/ 3136106 h 5043488"/>
                <a:gd name="connsiteX32" fmla="*/ 865981 w 4484687"/>
                <a:gd name="connsiteY32" fmla="*/ 3123406 h 5043488"/>
                <a:gd name="connsiteX33" fmla="*/ 835819 w 4484687"/>
                <a:gd name="connsiteY33" fmla="*/ 3103563 h 5043488"/>
                <a:gd name="connsiteX34" fmla="*/ 809625 w 4484687"/>
                <a:gd name="connsiteY34" fmla="*/ 3077369 h 5043488"/>
                <a:gd name="connsiteX35" fmla="*/ 789781 w 4484687"/>
                <a:gd name="connsiteY35" fmla="*/ 3047206 h 5043488"/>
                <a:gd name="connsiteX36" fmla="*/ 777081 w 4484687"/>
                <a:gd name="connsiteY36" fmla="*/ 3009900 h 5043488"/>
                <a:gd name="connsiteX37" fmla="*/ 773112 w 4484687"/>
                <a:gd name="connsiteY37" fmla="*/ 2971800 h 5043488"/>
                <a:gd name="connsiteX38" fmla="*/ 777081 w 4484687"/>
                <a:gd name="connsiteY38" fmla="*/ 2933700 h 5043488"/>
                <a:gd name="connsiteX39" fmla="*/ 789781 w 4484687"/>
                <a:gd name="connsiteY39" fmla="*/ 2897981 h 5043488"/>
                <a:gd name="connsiteX40" fmla="*/ 809625 w 4484687"/>
                <a:gd name="connsiteY40" fmla="*/ 2866231 h 5043488"/>
                <a:gd name="connsiteX41" fmla="*/ 835819 w 4484687"/>
                <a:gd name="connsiteY41" fmla="*/ 2840038 h 5043488"/>
                <a:gd name="connsiteX42" fmla="*/ 865981 w 4484687"/>
                <a:gd name="connsiteY42" fmla="*/ 2820194 h 5043488"/>
                <a:gd name="connsiteX43" fmla="*/ 903287 w 4484687"/>
                <a:gd name="connsiteY43" fmla="*/ 2807494 h 5043488"/>
                <a:gd name="connsiteX44" fmla="*/ 3246041 w 4484687"/>
                <a:gd name="connsiteY44" fmla="*/ 2635250 h 5043488"/>
                <a:gd name="connsiteX45" fmla="*/ 3336499 w 4484687"/>
                <a:gd name="connsiteY45" fmla="*/ 2638423 h 5043488"/>
                <a:gd name="connsiteX46" fmla="*/ 3425369 w 4484687"/>
                <a:gd name="connsiteY46" fmla="*/ 2649528 h 5043488"/>
                <a:gd name="connsiteX47" fmla="*/ 3512653 w 4484687"/>
                <a:gd name="connsiteY47" fmla="*/ 2664600 h 5043488"/>
                <a:gd name="connsiteX48" fmla="*/ 3597556 w 4484687"/>
                <a:gd name="connsiteY48" fmla="*/ 2687603 h 5043488"/>
                <a:gd name="connsiteX49" fmla="*/ 3680079 w 4484687"/>
                <a:gd name="connsiteY49" fmla="*/ 2716953 h 5043488"/>
                <a:gd name="connsiteX50" fmla="*/ 3757841 w 4484687"/>
                <a:gd name="connsiteY50" fmla="*/ 2750268 h 5043488"/>
                <a:gd name="connsiteX51" fmla="*/ 3618981 w 4484687"/>
                <a:gd name="connsiteY51" fmla="*/ 2975545 h 5043488"/>
                <a:gd name="connsiteX52" fmla="*/ 3549947 w 4484687"/>
                <a:gd name="connsiteY52" fmla="*/ 2947782 h 5043488"/>
                <a:gd name="connsiteX53" fmla="*/ 3476153 w 4484687"/>
                <a:gd name="connsiteY53" fmla="*/ 2926365 h 5043488"/>
                <a:gd name="connsiteX54" fmla="*/ 3400771 w 4484687"/>
                <a:gd name="connsiteY54" fmla="*/ 2911293 h 5043488"/>
                <a:gd name="connsiteX55" fmla="*/ 3324596 w 4484687"/>
                <a:gd name="connsiteY55" fmla="*/ 2901775 h 5043488"/>
                <a:gd name="connsiteX56" fmla="*/ 3246041 w 4484687"/>
                <a:gd name="connsiteY56" fmla="*/ 2898602 h 5043488"/>
                <a:gd name="connsiteX57" fmla="*/ 3151616 w 4484687"/>
                <a:gd name="connsiteY57" fmla="*/ 2903361 h 5043488"/>
                <a:gd name="connsiteX58" fmla="*/ 3057984 w 4484687"/>
                <a:gd name="connsiteY58" fmla="*/ 2916846 h 5043488"/>
                <a:gd name="connsiteX59" fmla="*/ 2967526 w 4484687"/>
                <a:gd name="connsiteY59" fmla="*/ 2939850 h 5043488"/>
                <a:gd name="connsiteX60" fmla="*/ 2880243 w 4484687"/>
                <a:gd name="connsiteY60" fmla="*/ 2972372 h 5043488"/>
                <a:gd name="connsiteX61" fmla="*/ 2798513 w 4484687"/>
                <a:gd name="connsiteY61" fmla="*/ 3012033 h 5043488"/>
                <a:gd name="connsiteX62" fmla="*/ 2720751 w 4484687"/>
                <a:gd name="connsiteY62" fmla="*/ 3059627 h 5043488"/>
                <a:gd name="connsiteX63" fmla="*/ 2648544 w 4484687"/>
                <a:gd name="connsiteY63" fmla="*/ 3113566 h 5043488"/>
                <a:gd name="connsiteX64" fmla="*/ 2581097 w 4484687"/>
                <a:gd name="connsiteY64" fmla="*/ 3174645 h 5043488"/>
                <a:gd name="connsiteX65" fmla="*/ 2521586 w 4484687"/>
                <a:gd name="connsiteY65" fmla="*/ 3240483 h 5043488"/>
                <a:gd name="connsiteX66" fmla="*/ 2466042 w 4484687"/>
                <a:gd name="connsiteY66" fmla="*/ 3314253 h 5043488"/>
                <a:gd name="connsiteX67" fmla="*/ 2418432 w 4484687"/>
                <a:gd name="connsiteY67" fmla="*/ 3390403 h 5043488"/>
                <a:gd name="connsiteX68" fmla="*/ 2378758 w 4484687"/>
                <a:gd name="connsiteY68" fmla="*/ 3472898 h 5043488"/>
                <a:gd name="connsiteX69" fmla="*/ 2347812 w 4484687"/>
                <a:gd name="connsiteY69" fmla="*/ 3559360 h 5043488"/>
                <a:gd name="connsiteX70" fmla="*/ 2324801 w 4484687"/>
                <a:gd name="connsiteY70" fmla="*/ 3648995 h 5043488"/>
                <a:gd name="connsiteX71" fmla="*/ 2309724 w 4484687"/>
                <a:gd name="connsiteY71" fmla="*/ 3742595 h 5043488"/>
                <a:gd name="connsiteX72" fmla="*/ 2304963 w 4484687"/>
                <a:gd name="connsiteY72" fmla="*/ 3839369 h 5043488"/>
                <a:gd name="connsiteX73" fmla="*/ 2309724 w 4484687"/>
                <a:gd name="connsiteY73" fmla="*/ 3934556 h 5043488"/>
                <a:gd name="connsiteX74" fmla="*/ 2324801 w 4484687"/>
                <a:gd name="connsiteY74" fmla="*/ 4027364 h 5043488"/>
                <a:gd name="connsiteX75" fmla="*/ 2347812 w 4484687"/>
                <a:gd name="connsiteY75" fmla="*/ 4117792 h 5043488"/>
                <a:gd name="connsiteX76" fmla="*/ 2378758 w 4484687"/>
                <a:gd name="connsiteY76" fmla="*/ 4203461 h 5043488"/>
                <a:gd name="connsiteX77" fmla="*/ 2418432 w 4484687"/>
                <a:gd name="connsiteY77" fmla="*/ 4286749 h 5043488"/>
                <a:gd name="connsiteX78" fmla="*/ 2466042 w 4484687"/>
                <a:gd name="connsiteY78" fmla="*/ 4364486 h 5043488"/>
                <a:gd name="connsiteX79" fmla="*/ 2521586 w 4484687"/>
                <a:gd name="connsiteY79" fmla="*/ 4436669 h 5043488"/>
                <a:gd name="connsiteX80" fmla="*/ 2581097 w 4484687"/>
                <a:gd name="connsiteY80" fmla="*/ 4504094 h 5043488"/>
                <a:gd name="connsiteX81" fmla="*/ 2648544 w 4484687"/>
                <a:gd name="connsiteY81" fmla="*/ 4563586 h 5043488"/>
                <a:gd name="connsiteX82" fmla="*/ 2720751 w 4484687"/>
                <a:gd name="connsiteY82" fmla="*/ 4619112 h 5043488"/>
                <a:gd name="connsiteX83" fmla="*/ 2798513 w 4484687"/>
                <a:gd name="connsiteY83" fmla="*/ 4665119 h 5043488"/>
                <a:gd name="connsiteX84" fmla="*/ 2880243 w 4484687"/>
                <a:gd name="connsiteY84" fmla="*/ 4704780 h 5043488"/>
                <a:gd name="connsiteX85" fmla="*/ 2967526 w 4484687"/>
                <a:gd name="connsiteY85" fmla="*/ 4736509 h 5043488"/>
                <a:gd name="connsiteX86" fmla="*/ 3057984 w 4484687"/>
                <a:gd name="connsiteY86" fmla="*/ 4759513 h 5043488"/>
                <a:gd name="connsiteX87" fmla="*/ 3151616 w 4484687"/>
                <a:gd name="connsiteY87" fmla="*/ 4773791 h 5043488"/>
                <a:gd name="connsiteX88" fmla="*/ 3246041 w 4484687"/>
                <a:gd name="connsiteY88" fmla="*/ 4779343 h 5043488"/>
                <a:gd name="connsiteX89" fmla="*/ 3342847 w 4484687"/>
                <a:gd name="connsiteY89" fmla="*/ 4773791 h 5043488"/>
                <a:gd name="connsiteX90" fmla="*/ 3436478 w 4484687"/>
                <a:gd name="connsiteY90" fmla="*/ 4759513 h 5043488"/>
                <a:gd name="connsiteX91" fmla="*/ 3526936 w 4484687"/>
                <a:gd name="connsiteY91" fmla="*/ 4736509 h 5043488"/>
                <a:gd name="connsiteX92" fmla="*/ 3612633 w 4484687"/>
                <a:gd name="connsiteY92" fmla="*/ 4704780 h 5043488"/>
                <a:gd name="connsiteX93" fmla="*/ 3695156 w 4484687"/>
                <a:gd name="connsiteY93" fmla="*/ 4665119 h 5043488"/>
                <a:gd name="connsiteX94" fmla="*/ 3772124 w 4484687"/>
                <a:gd name="connsiteY94" fmla="*/ 4619112 h 5043488"/>
                <a:gd name="connsiteX95" fmla="*/ 3845918 w 4484687"/>
                <a:gd name="connsiteY95" fmla="*/ 4563586 h 5043488"/>
                <a:gd name="connsiteX96" fmla="*/ 3911778 w 4484687"/>
                <a:gd name="connsiteY96" fmla="*/ 4504094 h 5043488"/>
                <a:gd name="connsiteX97" fmla="*/ 3972877 w 4484687"/>
                <a:gd name="connsiteY97" fmla="*/ 4436669 h 5043488"/>
                <a:gd name="connsiteX98" fmla="*/ 4026834 w 4484687"/>
                <a:gd name="connsiteY98" fmla="*/ 4364486 h 5043488"/>
                <a:gd name="connsiteX99" fmla="*/ 4073650 w 4484687"/>
                <a:gd name="connsiteY99" fmla="*/ 4286749 h 5043488"/>
                <a:gd name="connsiteX100" fmla="*/ 4114118 w 4484687"/>
                <a:gd name="connsiteY100" fmla="*/ 4203461 h 5043488"/>
                <a:gd name="connsiteX101" fmla="*/ 4145857 w 4484687"/>
                <a:gd name="connsiteY101" fmla="*/ 4117792 h 5043488"/>
                <a:gd name="connsiteX102" fmla="*/ 4168868 w 4484687"/>
                <a:gd name="connsiteY102" fmla="*/ 4027364 h 5043488"/>
                <a:gd name="connsiteX103" fmla="*/ 4183151 w 4484687"/>
                <a:gd name="connsiteY103" fmla="*/ 3934556 h 5043488"/>
                <a:gd name="connsiteX104" fmla="*/ 4187118 w 4484687"/>
                <a:gd name="connsiteY104" fmla="*/ 3839369 h 5043488"/>
                <a:gd name="connsiteX105" fmla="*/ 4183944 w 4484687"/>
                <a:gd name="connsiteY105" fmla="*/ 3759253 h 5043488"/>
                <a:gd name="connsiteX106" fmla="*/ 4173629 w 4484687"/>
                <a:gd name="connsiteY106" fmla="*/ 3681517 h 5043488"/>
                <a:gd name="connsiteX107" fmla="*/ 4156966 w 4484687"/>
                <a:gd name="connsiteY107" fmla="*/ 3606160 h 5043488"/>
                <a:gd name="connsiteX108" fmla="*/ 4334707 w 4484687"/>
                <a:gd name="connsiteY108" fmla="*/ 3322978 h 5043488"/>
                <a:gd name="connsiteX109" fmla="*/ 4368034 w 4484687"/>
                <a:gd name="connsiteY109" fmla="*/ 3403094 h 5043488"/>
                <a:gd name="connsiteX110" fmla="*/ 4397393 w 4484687"/>
                <a:gd name="connsiteY110" fmla="*/ 3485590 h 5043488"/>
                <a:gd name="connsiteX111" fmla="*/ 4420404 w 4484687"/>
                <a:gd name="connsiteY111" fmla="*/ 3571258 h 5043488"/>
                <a:gd name="connsiteX112" fmla="*/ 4437067 w 4484687"/>
                <a:gd name="connsiteY112" fmla="*/ 3658513 h 5043488"/>
                <a:gd name="connsiteX113" fmla="*/ 4448176 w 4484687"/>
                <a:gd name="connsiteY113" fmla="*/ 3747355 h 5043488"/>
                <a:gd name="connsiteX114" fmla="*/ 4451350 w 4484687"/>
                <a:gd name="connsiteY114" fmla="*/ 3839369 h 5043488"/>
                <a:gd name="connsiteX115" fmla="*/ 4446589 w 4484687"/>
                <a:gd name="connsiteY115" fmla="*/ 3941696 h 5043488"/>
                <a:gd name="connsiteX116" fmla="*/ 4433893 w 4484687"/>
                <a:gd name="connsiteY116" fmla="*/ 4044815 h 5043488"/>
                <a:gd name="connsiteX117" fmla="*/ 4412469 w 4484687"/>
                <a:gd name="connsiteY117" fmla="*/ 4142382 h 5043488"/>
                <a:gd name="connsiteX118" fmla="*/ 4383904 w 4484687"/>
                <a:gd name="connsiteY118" fmla="*/ 4237569 h 5043488"/>
                <a:gd name="connsiteX119" fmla="*/ 4346610 w 4484687"/>
                <a:gd name="connsiteY119" fmla="*/ 4329584 h 5043488"/>
                <a:gd name="connsiteX120" fmla="*/ 4302174 w 4484687"/>
                <a:gd name="connsiteY120" fmla="*/ 4418425 h 5043488"/>
                <a:gd name="connsiteX121" fmla="*/ 4251391 w 4484687"/>
                <a:gd name="connsiteY121" fmla="*/ 4500921 h 5043488"/>
                <a:gd name="connsiteX122" fmla="*/ 4195053 w 4484687"/>
                <a:gd name="connsiteY122" fmla="*/ 4580243 h 5043488"/>
                <a:gd name="connsiteX123" fmla="*/ 4132368 w 4484687"/>
                <a:gd name="connsiteY123" fmla="*/ 4654014 h 5043488"/>
                <a:gd name="connsiteX124" fmla="*/ 4063334 w 4484687"/>
                <a:gd name="connsiteY124" fmla="*/ 4723024 h 5043488"/>
                <a:gd name="connsiteX125" fmla="*/ 3987953 w 4484687"/>
                <a:gd name="connsiteY125" fmla="*/ 4785689 h 5043488"/>
                <a:gd name="connsiteX126" fmla="*/ 3910191 w 4484687"/>
                <a:gd name="connsiteY126" fmla="*/ 4844388 h 5043488"/>
                <a:gd name="connsiteX127" fmla="*/ 3825288 w 4484687"/>
                <a:gd name="connsiteY127" fmla="*/ 4894361 h 5043488"/>
                <a:gd name="connsiteX128" fmla="*/ 3738004 w 4484687"/>
                <a:gd name="connsiteY128" fmla="*/ 4937196 h 5043488"/>
                <a:gd name="connsiteX129" fmla="*/ 3645959 w 4484687"/>
                <a:gd name="connsiteY129" fmla="*/ 4974477 h 5043488"/>
                <a:gd name="connsiteX130" fmla="*/ 3549947 w 4484687"/>
                <a:gd name="connsiteY130" fmla="*/ 5003034 h 5043488"/>
                <a:gd name="connsiteX131" fmla="*/ 3451555 w 4484687"/>
                <a:gd name="connsiteY131" fmla="*/ 5024451 h 5043488"/>
                <a:gd name="connsiteX132" fmla="*/ 3350781 w 4484687"/>
                <a:gd name="connsiteY132" fmla="*/ 5038729 h 5043488"/>
                <a:gd name="connsiteX133" fmla="*/ 3246041 w 4484687"/>
                <a:gd name="connsiteY133" fmla="*/ 5043488 h 5043488"/>
                <a:gd name="connsiteX134" fmla="*/ 3142094 w 4484687"/>
                <a:gd name="connsiteY134" fmla="*/ 5038729 h 5043488"/>
                <a:gd name="connsiteX135" fmla="*/ 3040527 w 4484687"/>
                <a:gd name="connsiteY135" fmla="*/ 5024451 h 5043488"/>
                <a:gd name="connsiteX136" fmla="*/ 2942928 w 4484687"/>
                <a:gd name="connsiteY136" fmla="*/ 5003034 h 5043488"/>
                <a:gd name="connsiteX137" fmla="*/ 2847710 w 4484687"/>
                <a:gd name="connsiteY137" fmla="*/ 4974477 h 5043488"/>
                <a:gd name="connsiteX138" fmla="*/ 2755665 w 4484687"/>
                <a:gd name="connsiteY138" fmla="*/ 4937196 h 5043488"/>
                <a:gd name="connsiteX139" fmla="*/ 2666794 w 4484687"/>
                <a:gd name="connsiteY139" fmla="*/ 4894361 h 5043488"/>
                <a:gd name="connsiteX140" fmla="*/ 2584271 w 4484687"/>
                <a:gd name="connsiteY140" fmla="*/ 4844388 h 5043488"/>
                <a:gd name="connsiteX141" fmla="*/ 2504129 w 4484687"/>
                <a:gd name="connsiteY141" fmla="*/ 4785689 h 5043488"/>
                <a:gd name="connsiteX142" fmla="*/ 2431128 w 4484687"/>
                <a:gd name="connsiteY142" fmla="*/ 4723024 h 5043488"/>
                <a:gd name="connsiteX143" fmla="*/ 2362095 w 4484687"/>
                <a:gd name="connsiteY143" fmla="*/ 4654014 h 5043488"/>
                <a:gd name="connsiteX144" fmla="*/ 2297822 w 4484687"/>
                <a:gd name="connsiteY144" fmla="*/ 4580243 h 5043488"/>
                <a:gd name="connsiteX145" fmla="*/ 2240691 w 4484687"/>
                <a:gd name="connsiteY145" fmla="*/ 4500921 h 5043488"/>
                <a:gd name="connsiteX146" fmla="*/ 2189908 w 4484687"/>
                <a:gd name="connsiteY146" fmla="*/ 4418425 h 5043488"/>
                <a:gd name="connsiteX147" fmla="*/ 2145472 w 4484687"/>
                <a:gd name="connsiteY147" fmla="*/ 4329584 h 5043488"/>
                <a:gd name="connsiteX148" fmla="*/ 2108972 w 4484687"/>
                <a:gd name="connsiteY148" fmla="*/ 4237569 h 5043488"/>
                <a:gd name="connsiteX149" fmla="*/ 2079613 w 4484687"/>
                <a:gd name="connsiteY149" fmla="*/ 4142382 h 5043488"/>
                <a:gd name="connsiteX150" fmla="*/ 2059775 w 4484687"/>
                <a:gd name="connsiteY150" fmla="*/ 4044815 h 5043488"/>
                <a:gd name="connsiteX151" fmla="*/ 2046286 w 4484687"/>
                <a:gd name="connsiteY151" fmla="*/ 3941696 h 5043488"/>
                <a:gd name="connsiteX152" fmla="*/ 2041525 w 4484687"/>
                <a:gd name="connsiteY152" fmla="*/ 3839369 h 5043488"/>
                <a:gd name="connsiteX153" fmla="*/ 2046286 w 4484687"/>
                <a:gd name="connsiteY153" fmla="*/ 3735456 h 5043488"/>
                <a:gd name="connsiteX154" fmla="*/ 2059775 w 4484687"/>
                <a:gd name="connsiteY154" fmla="*/ 3633923 h 5043488"/>
                <a:gd name="connsiteX155" fmla="*/ 2079613 w 4484687"/>
                <a:gd name="connsiteY155" fmla="*/ 3534770 h 5043488"/>
                <a:gd name="connsiteX156" fmla="*/ 2108972 w 4484687"/>
                <a:gd name="connsiteY156" fmla="*/ 3439583 h 5043488"/>
                <a:gd name="connsiteX157" fmla="*/ 2145472 w 4484687"/>
                <a:gd name="connsiteY157" fmla="*/ 3347568 h 5043488"/>
                <a:gd name="connsiteX158" fmla="*/ 2189908 w 4484687"/>
                <a:gd name="connsiteY158" fmla="*/ 3260313 h 5043488"/>
                <a:gd name="connsiteX159" fmla="*/ 2240691 w 4484687"/>
                <a:gd name="connsiteY159" fmla="*/ 3176231 h 5043488"/>
                <a:gd name="connsiteX160" fmla="*/ 2297822 w 4484687"/>
                <a:gd name="connsiteY160" fmla="*/ 3096115 h 5043488"/>
                <a:gd name="connsiteX161" fmla="*/ 2362095 w 4484687"/>
                <a:gd name="connsiteY161" fmla="*/ 3023138 h 5043488"/>
                <a:gd name="connsiteX162" fmla="*/ 2431128 w 4484687"/>
                <a:gd name="connsiteY162" fmla="*/ 2954128 h 5043488"/>
                <a:gd name="connsiteX163" fmla="*/ 2504129 w 4484687"/>
                <a:gd name="connsiteY163" fmla="*/ 2891463 h 5043488"/>
                <a:gd name="connsiteX164" fmla="*/ 2584271 w 4484687"/>
                <a:gd name="connsiteY164" fmla="*/ 2834350 h 5043488"/>
                <a:gd name="connsiteX165" fmla="*/ 2666794 w 4484687"/>
                <a:gd name="connsiteY165" fmla="*/ 2783584 h 5043488"/>
                <a:gd name="connsiteX166" fmla="*/ 2755665 w 4484687"/>
                <a:gd name="connsiteY166" fmla="*/ 2739163 h 5043488"/>
                <a:gd name="connsiteX167" fmla="*/ 2847710 w 4484687"/>
                <a:gd name="connsiteY167" fmla="*/ 2702674 h 5043488"/>
                <a:gd name="connsiteX168" fmla="*/ 2942928 w 4484687"/>
                <a:gd name="connsiteY168" fmla="*/ 2673325 h 5043488"/>
                <a:gd name="connsiteX169" fmla="*/ 3040527 w 4484687"/>
                <a:gd name="connsiteY169" fmla="*/ 2651908 h 5043488"/>
                <a:gd name="connsiteX170" fmla="*/ 3142094 w 4484687"/>
                <a:gd name="connsiteY170" fmla="*/ 2638423 h 5043488"/>
                <a:gd name="connsiteX171" fmla="*/ 4265612 w 4484687"/>
                <a:gd name="connsiteY171" fmla="*/ 2463800 h 5043488"/>
                <a:gd name="connsiteX172" fmla="*/ 4305300 w 4484687"/>
                <a:gd name="connsiteY172" fmla="*/ 2466977 h 5043488"/>
                <a:gd name="connsiteX173" fmla="*/ 4344987 w 4484687"/>
                <a:gd name="connsiteY173" fmla="*/ 2478893 h 5043488"/>
                <a:gd name="connsiteX174" fmla="*/ 4382293 w 4484687"/>
                <a:gd name="connsiteY174" fmla="*/ 2497163 h 5043488"/>
                <a:gd name="connsiteX175" fmla="*/ 4414043 w 4484687"/>
                <a:gd name="connsiteY175" fmla="*/ 2520198 h 5043488"/>
                <a:gd name="connsiteX176" fmla="*/ 4440237 w 4484687"/>
                <a:gd name="connsiteY176" fmla="*/ 2549589 h 5043488"/>
                <a:gd name="connsiteX177" fmla="*/ 4460081 w 4484687"/>
                <a:gd name="connsiteY177" fmla="*/ 2580569 h 5043488"/>
                <a:gd name="connsiteX178" fmla="*/ 4474368 w 4484687"/>
                <a:gd name="connsiteY178" fmla="*/ 2615520 h 5043488"/>
                <a:gd name="connsiteX179" fmla="*/ 4483100 w 4484687"/>
                <a:gd name="connsiteY179" fmla="*/ 2652059 h 5043488"/>
                <a:gd name="connsiteX180" fmla="*/ 4484687 w 4484687"/>
                <a:gd name="connsiteY180" fmla="*/ 2689393 h 5043488"/>
                <a:gd name="connsiteX181" fmla="*/ 4481512 w 4484687"/>
                <a:gd name="connsiteY181" fmla="*/ 2727522 h 5043488"/>
                <a:gd name="connsiteX182" fmla="*/ 4469606 w 4484687"/>
                <a:gd name="connsiteY182" fmla="*/ 2764062 h 5043488"/>
                <a:gd name="connsiteX183" fmla="*/ 4452937 w 4484687"/>
                <a:gd name="connsiteY183" fmla="*/ 2799807 h 5043488"/>
                <a:gd name="connsiteX184" fmla="*/ 3402012 w 4484687"/>
                <a:gd name="connsiteY184" fmla="*/ 4486991 h 5043488"/>
                <a:gd name="connsiteX185" fmla="*/ 3380581 w 4484687"/>
                <a:gd name="connsiteY185" fmla="*/ 4515588 h 5043488"/>
                <a:gd name="connsiteX186" fmla="*/ 3354387 w 4484687"/>
                <a:gd name="connsiteY186" fmla="*/ 4541801 h 5043488"/>
                <a:gd name="connsiteX187" fmla="*/ 3325812 w 4484687"/>
                <a:gd name="connsiteY187" fmla="*/ 4561659 h 5043488"/>
                <a:gd name="connsiteX188" fmla="*/ 3293268 w 4484687"/>
                <a:gd name="connsiteY188" fmla="*/ 4577546 h 5043488"/>
                <a:gd name="connsiteX189" fmla="*/ 3258343 w 4484687"/>
                <a:gd name="connsiteY189" fmla="*/ 4586284 h 5043488"/>
                <a:gd name="connsiteX190" fmla="*/ 3221037 w 4484687"/>
                <a:gd name="connsiteY190" fmla="*/ 4591050 h 5043488"/>
                <a:gd name="connsiteX191" fmla="*/ 3217068 w 4484687"/>
                <a:gd name="connsiteY191" fmla="*/ 4591050 h 5043488"/>
                <a:gd name="connsiteX192" fmla="*/ 3174206 w 4484687"/>
                <a:gd name="connsiteY192" fmla="*/ 4586284 h 5043488"/>
                <a:gd name="connsiteX193" fmla="*/ 3133725 w 4484687"/>
                <a:gd name="connsiteY193" fmla="*/ 4574369 h 5043488"/>
                <a:gd name="connsiteX194" fmla="*/ 3097212 w 4484687"/>
                <a:gd name="connsiteY194" fmla="*/ 4556099 h 5043488"/>
                <a:gd name="connsiteX195" fmla="*/ 3063081 w 4484687"/>
                <a:gd name="connsiteY195" fmla="*/ 4529886 h 5043488"/>
                <a:gd name="connsiteX196" fmla="*/ 3036093 w 4484687"/>
                <a:gd name="connsiteY196" fmla="*/ 4497318 h 5043488"/>
                <a:gd name="connsiteX197" fmla="*/ 2552700 w 4484687"/>
                <a:gd name="connsiteY197" fmla="*/ 3807034 h 5043488"/>
                <a:gd name="connsiteX198" fmla="*/ 2532856 w 4484687"/>
                <a:gd name="connsiteY198" fmla="*/ 3772083 h 5043488"/>
                <a:gd name="connsiteX199" fmla="*/ 2519362 w 4484687"/>
                <a:gd name="connsiteY199" fmla="*/ 3736337 h 5043488"/>
                <a:gd name="connsiteX200" fmla="*/ 2513012 w 4484687"/>
                <a:gd name="connsiteY200" fmla="*/ 3698209 h 5043488"/>
                <a:gd name="connsiteX201" fmla="*/ 2513012 w 4484687"/>
                <a:gd name="connsiteY201" fmla="*/ 3661669 h 5043488"/>
                <a:gd name="connsiteX202" fmla="*/ 2519362 w 4484687"/>
                <a:gd name="connsiteY202" fmla="*/ 3625129 h 5043488"/>
                <a:gd name="connsiteX203" fmla="*/ 2532856 w 4484687"/>
                <a:gd name="connsiteY203" fmla="*/ 3589384 h 5043488"/>
                <a:gd name="connsiteX204" fmla="*/ 2551112 w 4484687"/>
                <a:gd name="connsiteY204" fmla="*/ 3556022 h 5043488"/>
                <a:gd name="connsiteX205" fmla="*/ 2575718 w 4484687"/>
                <a:gd name="connsiteY205" fmla="*/ 3526631 h 5043488"/>
                <a:gd name="connsiteX206" fmla="*/ 2606675 w 4484687"/>
                <a:gd name="connsiteY206" fmla="*/ 3500418 h 5043488"/>
                <a:gd name="connsiteX207" fmla="*/ 2636043 w 4484687"/>
                <a:gd name="connsiteY207" fmla="*/ 3483736 h 5043488"/>
                <a:gd name="connsiteX208" fmla="*/ 2667793 w 4484687"/>
                <a:gd name="connsiteY208" fmla="*/ 3471027 h 5043488"/>
                <a:gd name="connsiteX209" fmla="*/ 2700337 w 4484687"/>
                <a:gd name="connsiteY209" fmla="*/ 3463878 h 5043488"/>
                <a:gd name="connsiteX210" fmla="*/ 2732087 w 4484687"/>
                <a:gd name="connsiteY210" fmla="*/ 3460700 h 5043488"/>
                <a:gd name="connsiteX211" fmla="*/ 2766218 w 4484687"/>
                <a:gd name="connsiteY211" fmla="*/ 3463878 h 5043488"/>
                <a:gd name="connsiteX212" fmla="*/ 2799556 w 4484687"/>
                <a:gd name="connsiteY212" fmla="*/ 3471027 h 5043488"/>
                <a:gd name="connsiteX213" fmla="*/ 2832100 w 4484687"/>
                <a:gd name="connsiteY213" fmla="*/ 3485325 h 5043488"/>
                <a:gd name="connsiteX214" fmla="*/ 2862262 w 4484687"/>
                <a:gd name="connsiteY214" fmla="*/ 3503595 h 5043488"/>
                <a:gd name="connsiteX215" fmla="*/ 2888456 w 4484687"/>
                <a:gd name="connsiteY215" fmla="*/ 3526631 h 5043488"/>
                <a:gd name="connsiteX216" fmla="*/ 2911475 w 4484687"/>
                <a:gd name="connsiteY216" fmla="*/ 3554433 h 5043488"/>
                <a:gd name="connsiteX217" fmla="*/ 3204368 w 4484687"/>
                <a:gd name="connsiteY217" fmla="*/ 3973051 h 5043488"/>
                <a:gd name="connsiteX218" fmla="*/ 4078287 w 4484687"/>
                <a:gd name="connsiteY218" fmla="*/ 2566270 h 5043488"/>
                <a:gd name="connsiteX219" fmla="*/ 4102893 w 4484687"/>
                <a:gd name="connsiteY219" fmla="*/ 2536085 h 5043488"/>
                <a:gd name="connsiteX220" fmla="*/ 4129087 w 4484687"/>
                <a:gd name="connsiteY220" fmla="*/ 2511461 h 5043488"/>
                <a:gd name="connsiteX221" fmla="*/ 4160837 w 4484687"/>
                <a:gd name="connsiteY221" fmla="*/ 2490013 h 5043488"/>
                <a:gd name="connsiteX222" fmla="*/ 4193381 w 4484687"/>
                <a:gd name="connsiteY222" fmla="*/ 2475715 h 5043488"/>
                <a:gd name="connsiteX223" fmla="*/ 4228306 w 4484687"/>
                <a:gd name="connsiteY223" fmla="*/ 2466977 h 5043488"/>
                <a:gd name="connsiteX224" fmla="*/ 941477 w 4484687"/>
                <a:gd name="connsiteY224" fmla="*/ 2127250 h 5043488"/>
                <a:gd name="connsiteX225" fmla="*/ 2092235 w 4484687"/>
                <a:gd name="connsiteY225" fmla="*/ 2127250 h 5043488"/>
                <a:gd name="connsiteX226" fmla="*/ 2130356 w 4484687"/>
                <a:gd name="connsiteY226" fmla="*/ 2132001 h 5043488"/>
                <a:gd name="connsiteX227" fmla="*/ 2166888 w 4484687"/>
                <a:gd name="connsiteY227" fmla="*/ 2143880 h 5043488"/>
                <a:gd name="connsiteX228" fmla="*/ 2197860 w 4484687"/>
                <a:gd name="connsiteY228" fmla="*/ 2163677 h 5043488"/>
                <a:gd name="connsiteX229" fmla="*/ 2224068 w 4484687"/>
                <a:gd name="connsiteY229" fmla="*/ 2189809 h 5043488"/>
                <a:gd name="connsiteX230" fmla="*/ 2243923 w 4484687"/>
                <a:gd name="connsiteY230" fmla="*/ 2220692 h 5043488"/>
                <a:gd name="connsiteX231" fmla="*/ 2257423 w 4484687"/>
                <a:gd name="connsiteY231" fmla="*/ 2257119 h 5043488"/>
                <a:gd name="connsiteX232" fmla="*/ 2260600 w 4484687"/>
                <a:gd name="connsiteY232" fmla="*/ 2295129 h 5043488"/>
                <a:gd name="connsiteX233" fmla="*/ 2257423 w 4484687"/>
                <a:gd name="connsiteY233" fmla="*/ 2333931 h 5043488"/>
                <a:gd name="connsiteX234" fmla="*/ 2243923 w 4484687"/>
                <a:gd name="connsiteY234" fmla="*/ 2368774 h 5043488"/>
                <a:gd name="connsiteX235" fmla="*/ 2224068 w 4484687"/>
                <a:gd name="connsiteY235" fmla="*/ 2401241 h 5043488"/>
                <a:gd name="connsiteX236" fmla="*/ 2197860 w 4484687"/>
                <a:gd name="connsiteY236" fmla="*/ 2426582 h 5043488"/>
                <a:gd name="connsiteX237" fmla="*/ 2166888 w 4484687"/>
                <a:gd name="connsiteY237" fmla="*/ 2447171 h 5043488"/>
                <a:gd name="connsiteX238" fmla="*/ 2130356 w 4484687"/>
                <a:gd name="connsiteY238" fmla="*/ 2459049 h 5043488"/>
                <a:gd name="connsiteX239" fmla="*/ 2092235 w 4484687"/>
                <a:gd name="connsiteY239" fmla="*/ 2463800 h 5043488"/>
                <a:gd name="connsiteX240" fmla="*/ 941477 w 4484687"/>
                <a:gd name="connsiteY240" fmla="*/ 2463800 h 5043488"/>
                <a:gd name="connsiteX241" fmla="*/ 903357 w 4484687"/>
                <a:gd name="connsiteY241" fmla="*/ 2459049 h 5043488"/>
                <a:gd name="connsiteX242" fmla="*/ 866031 w 4484687"/>
                <a:gd name="connsiteY242" fmla="*/ 2447171 h 5043488"/>
                <a:gd name="connsiteX243" fmla="*/ 835852 w 4484687"/>
                <a:gd name="connsiteY243" fmla="*/ 2426582 h 5043488"/>
                <a:gd name="connsiteX244" fmla="*/ 809644 w 4484687"/>
                <a:gd name="connsiteY244" fmla="*/ 2401241 h 5043488"/>
                <a:gd name="connsiteX245" fmla="*/ 789790 w 4484687"/>
                <a:gd name="connsiteY245" fmla="*/ 2368774 h 5043488"/>
                <a:gd name="connsiteX246" fmla="*/ 777083 w 4484687"/>
                <a:gd name="connsiteY246" fmla="*/ 2333931 h 5043488"/>
                <a:gd name="connsiteX247" fmla="*/ 773112 w 4484687"/>
                <a:gd name="connsiteY247" fmla="*/ 2295129 h 5043488"/>
                <a:gd name="connsiteX248" fmla="*/ 777083 w 4484687"/>
                <a:gd name="connsiteY248" fmla="*/ 2257119 h 5043488"/>
                <a:gd name="connsiteX249" fmla="*/ 789790 w 4484687"/>
                <a:gd name="connsiteY249" fmla="*/ 2220692 h 5043488"/>
                <a:gd name="connsiteX250" fmla="*/ 809644 w 4484687"/>
                <a:gd name="connsiteY250" fmla="*/ 2189809 h 5043488"/>
                <a:gd name="connsiteX251" fmla="*/ 835852 w 4484687"/>
                <a:gd name="connsiteY251" fmla="*/ 2163677 h 5043488"/>
                <a:gd name="connsiteX252" fmla="*/ 866031 w 4484687"/>
                <a:gd name="connsiteY252" fmla="*/ 2143880 h 5043488"/>
                <a:gd name="connsiteX253" fmla="*/ 903357 w 4484687"/>
                <a:gd name="connsiteY253" fmla="*/ 2132001 h 5043488"/>
                <a:gd name="connsiteX254" fmla="*/ 941497 w 4484687"/>
                <a:gd name="connsiteY254" fmla="*/ 1449387 h 5043488"/>
                <a:gd name="connsiteX255" fmla="*/ 1822340 w 4484687"/>
                <a:gd name="connsiteY255" fmla="*/ 1449387 h 5043488"/>
                <a:gd name="connsiteX256" fmla="*/ 1860465 w 4484687"/>
                <a:gd name="connsiteY256" fmla="*/ 1453375 h 5043488"/>
                <a:gd name="connsiteX257" fmla="*/ 1896207 w 4484687"/>
                <a:gd name="connsiteY257" fmla="*/ 1466134 h 5043488"/>
                <a:gd name="connsiteX258" fmla="*/ 1927978 w 4484687"/>
                <a:gd name="connsiteY258" fmla="*/ 1486071 h 5043488"/>
                <a:gd name="connsiteX259" fmla="*/ 1954189 w 4484687"/>
                <a:gd name="connsiteY259" fmla="*/ 1513983 h 5043488"/>
                <a:gd name="connsiteX260" fmla="*/ 1974046 w 4484687"/>
                <a:gd name="connsiteY260" fmla="*/ 1544287 h 5043488"/>
                <a:gd name="connsiteX261" fmla="*/ 1985960 w 4484687"/>
                <a:gd name="connsiteY261" fmla="*/ 1580173 h 5043488"/>
                <a:gd name="connsiteX262" fmla="*/ 1990725 w 4484687"/>
                <a:gd name="connsiteY262" fmla="*/ 1618452 h 5043488"/>
                <a:gd name="connsiteX263" fmla="*/ 1985960 w 4484687"/>
                <a:gd name="connsiteY263" fmla="*/ 1658326 h 5043488"/>
                <a:gd name="connsiteX264" fmla="*/ 1974046 w 4484687"/>
                <a:gd name="connsiteY264" fmla="*/ 1694212 h 5043488"/>
                <a:gd name="connsiteX265" fmla="*/ 1954189 w 4484687"/>
                <a:gd name="connsiteY265" fmla="*/ 1724517 h 5043488"/>
                <a:gd name="connsiteX266" fmla="*/ 1927978 w 4484687"/>
                <a:gd name="connsiteY266" fmla="*/ 1752428 h 5043488"/>
                <a:gd name="connsiteX267" fmla="*/ 1896207 w 4484687"/>
                <a:gd name="connsiteY267" fmla="*/ 1772365 h 5043488"/>
                <a:gd name="connsiteX268" fmla="*/ 1860465 w 4484687"/>
                <a:gd name="connsiteY268" fmla="*/ 1785125 h 5043488"/>
                <a:gd name="connsiteX269" fmla="*/ 1822340 w 4484687"/>
                <a:gd name="connsiteY269" fmla="*/ 1789112 h 5043488"/>
                <a:gd name="connsiteX270" fmla="*/ 941497 w 4484687"/>
                <a:gd name="connsiteY270" fmla="*/ 1789112 h 5043488"/>
                <a:gd name="connsiteX271" fmla="*/ 903372 w 4484687"/>
                <a:gd name="connsiteY271" fmla="*/ 1785125 h 5043488"/>
                <a:gd name="connsiteX272" fmla="*/ 866042 w 4484687"/>
                <a:gd name="connsiteY272" fmla="*/ 1772365 h 5043488"/>
                <a:gd name="connsiteX273" fmla="*/ 835859 w 4484687"/>
                <a:gd name="connsiteY273" fmla="*/ 1752428 h 5043488"/>
                <a:gd name="connsiteX274" fmla="*/ 809649 w 4484687"/>
                <a:gd name="connsiteY274" fmla="*/ 1724517 h 5043488"/>
                <a:gd name="connsiteX275" fmla="*/ 789792 w 4484687"/>
                <a:gd name="connsiteY275" fmla="*/ 1694212 h 5043488"/>
                <a:gd name="connsiteX276" fmla="*/ 777084 w 4484687"/>
                <a:gd name="connsiteY276" fmla="*/ 1658326 h 5043488"/>
                <a:gd name="connsiteX277" fmla="*/ 773112 w 4484687"/>
                <a:gd name="connsiteY277" fmla="*/ 1618452 h 5043488"/>
                <a:gd name="connsiteX278" fmla="*/ 777084 w 4484687"/>
                <a:gd name="connsiteY278" fmla="*/ 1580173 h 5043488"/>
                <a:gd name="connsiteX279" fmla="*/ 789792 w 4484687"/>
                <a:gd name="connsiteY279" fmla="*/ 1544287 h 5043488"/>
                <a:gd name="connsiteX280" fmla="*/ 809649 w 4484687"/>
                <a:gd name="connsiteY280" fmla="*/ 1513983 h 5043488"/>
                <a:gd name="connsiteX281" fmla="*/ 835859 w 4484687"/>
                <a:gd name="connsiteY281" fmla="*/ 1486071 h 5043488"/>
                <a:gd name="connsiteX282" fmla="*/ 866042 w 4484687"/>
                <a:gd name="connsiteY282" fmla="*/ 1466134 h 5043488"/>
                <a:gd name="connsiteX283" fmla="*/ 903372 w 4484687"/>
                <a:gd name="connsiteY283" fmla="*/ 1453375 h 5043488"/>
                <a:gd name="connsiteX284" fmla="*/ 990819 w 4484687"/>
                <a:gd name="connsiteY284" fmla="*/ 0 h 5043488"/>
                <a:gd name="connsiteX285" fmla="*/ 3178876 w 4484687"/>
                <a:gd name="connsiteY285" fmla="*/ 0 h 5043488"/>
                <a:gd name="connsiteX286" fmla="*/ 3240802 w 4484687"/>
                <a:gd name="connsiteY286" fmla="*/ 4763 h 5043488"/>
                <a:gd name="connsiteX287" fmla="*/ 3300347 w 4484687"/>
                <a:gd name="connsiteY287" fmla="*/ 18256 h 5043488"/>
                <a:gd name="connsiteX288" fmla="*/ 3356715 w 4484687"/>
                <a:gd name="connsiteY288" fmla="*/ 39688 h 5043488"/>
                <a:gd name="connsiteX289" fmla="*/ 3409114 w 4484687"/>
                <a:gd name="connsiteY289" fmla="*/ 67469 h 5043488"/>
                <a:gd name="connsiteX290" fmla="*/ 3456750 w 4484687"/>
                <a:gd name="connsiteY290" fmla="*/ 103982 h 5043488"/>
                <a:gd name="connsiteX291" fmla="*/ 3498034 w 4484687"/>
                <a:gd name="connsiteY291" fmla="*/ 145257 h 5043488"/>
                <a:gd name="connsiteX292" fmla="*/ 3533761 w 4484687"/>
                <a:gd name="connsiteY292" fmla="*/ 192882 h 5043488"/>
                <a:gd name="connsiteX293" fmla="*/ 3562342 w 4484687"/>
                <a:gd name="connsiteY293" fmla="*/ 245269 h 5043488"/>
                <a:gd name="connsiteX294" fmla="*/ 3583778 w 4484687"/>
                <a:gd name="connsiteY294" fmla="*/ 300038 h 5043488"/>
                <a:gd name="connsiteX295" fmla="*/ 3598068 w 4484687"/>
                <a:gd name="connsiteY295" fmla="*/ 360363 h 5043488"/>
                <a:gd name="connsiteX296" fmla="*/ 3602038 w 4484687"/>
                <a:gd name="connsiteY296" fmla="*/ 423069 h 5043488"/>
                <a:gd name="connsiteX297" fmla="*/ 3602038 w 4484687"/>
                <a:gd name="connsiteY297" fmla="*/ 2515394 h 5043488"/>
                <a:gd name="connsiteX298" fmla="*/ 3490095 w 4484687"/>
                <a:gd name="connsiteY298" fmla="*/ 2489200 h 5043488"/>
                <a:gd name="connsiteX299" fmla="*/ 3378151 w 4484687"/>
                <a:gd name="connsiteY299" fmla="*/ 2471738 h 5043488"/>
                <a:gd name="connsiteX300" fmla="*/ 3263826 w 4484687"/>
                <a:gd name="connsiteY300" fmla="*/ 2466182 h 5043488"/>
                <a:gd name="connsiteX301" fmla="*/ 3263826 w 4484687"/>
                <a:gd name="connsiteY301" fmla="*/ 423069 h 5043488"/>
                <a:gd name="connsiteX302" fmla="*/ 3259062 w 4484687"/>
                <a:gd name="connsiteY302" fmla="*/ 395288 h 5043488"/>
                <a:gd name="connsiteX303" fmla="*/ 3247948 w 4484687"/>
                <a:gd name="connsiteY303" fmla="*/ 372269 h 5043488"/>
                <a:gd name="connsiteX304" fmla="*/ 3228099 w 4484687"/>
                <a:gd name="connsiteY304" fmla="*/ 354013 h 5043488"/>
                <a:gd name="connsiteX305" fmla="*/ 3205076 w 4484687"/>
                <a:gd name="connsiteY305" fmla="*/ 342107 h 5043488"/>
                <a:gd name="connsiteX306" fmla="*/ 3178876 w 4484687"/>
                <a:gd name="connsiteY306" fmla="*/ 337345 h 5043488"/>
                <a:gd name="connsiteX307" fmla="*/ 990819 w 4484687"/>
                <a:gd name="connsiteY307" fmla="*/ 337345 h 5043488"/>
                <a:gd name="connsiteX308" fmla="*/ 964619 w 4484687"/>
                <a:gd name="connsiteY308" fmla="*/ 342107 h 5043488"/>
                <a:gd name="connsiteX309" fmla="*/ 940007 w 4484687"/>
                <a:gd name="connsiteY309" fmla="*/ 354013 h 5043488"/>
                <a:gd name="connsiteX310" fmla="*/ 921747 w 4484687"/>
                <a:gd name="connsiteY310" fmla="*/ 372269 h 5043488"/>
                <a:gd name="connsiteX311" fmla="*/ 909044 w 4484687"/>
                <a:gd name="connsiteY311" fmla="*/ 395288 h 5043488"/>
                <a:gd name="connsiteX312" fmla="*/ 905075 w 4484687"/>
                <a:gd name="connsiteY312" fmla="*/ 423069 h 5043488"/>
                <a:gd name="connsiteX313" fmla="*/ 905075 w 4484687"/>
                <a:gd name="connsiteY313" fmla="*/ 566738 h 5043488"/>
                <a:gd name="connsiteX314" fmla="*/ 2610426 w 4484687"/>
                <a:gd name="connsiteY314" fmla="*/ 566738 h 5043488"/>
                <a:gd name="connsiteX315" fmla="*/ 2673146 w 4484687"/>
                <a:gd name="connsiteY315" fmla="*/ 571501 h 5043488"/>
                <a:gd name="connsiteX316" fmla="*/ 2732690 w 4484687"/>
                <a:gd name="connsiteY316" fmla="*/ 585788 h 5043488"/>
                <a:gd name="connsiteX317" fmla="*/ 2789853 w 4484687"/>
                <a:gd name="connsiteY317" fmla="*/ 607219 h 5043488"/>
                <a:gd name="connsiteX318" fmla="*/ 2841458 w 4484687"/>
                <a:gd name="connsiteY318" fmla="*/ 635794 h 5043488"/>
                <a:gd name="connsiteX319" fmla="*/ 2887506 w 4484687"/>
                <a:gd name="connsiteY319" fmla="*/ 671513 h 5043488"/>
                <a:gd name="connsiteX320" fmla="*/ 2930378 w 4484687"/>
                <a:gd name="connsiteY320" fmla="*/ 714375 h 5043488"/>
                <a:gd name="connsiteX321" fmla="*/ 2966104 w 4484687"/>
                <a:gd name="connsiteY321" fmla="*/ 760413 h 5043488"/>
                <a:gd name="connsiteX322" fmla="*/ 2995479 w 4484687"/>
                <a:gd name="connsiteY322" fmla="*/ 812006 h 5043488"/>
                <a:gd name="connsiteX323" fmla="*/ 3016915 w 4484687"/>
                <a:gd name="connsiteY323" fmla="*/ 869157 h 5043488"/>
                <a:gd name="connsiteX324" fmla="*/ 3030412 w 4484687"/>
                <a:gd name="connsiteY324" fmla="*/ 928688 h 5043488"/>
                <a:gd name="connsiteX325" fmla="*/ 3035176 w 4484687"/>
                <a:gd name="connsiteY325" fmla="*/ 991394 h 5043488"/>
                <a:gd name="connsiteX326" fmla="*/ 3035176 w 4484687"/>
                <a:gd name="connsiteY326" fmla="*/ 2482850 h 5043488"/>
                <a:gd name="connsiteX327" fmla="*/ 2946256 w 4484687"/>
                <a:gd name="connsiteY327" fmla="*/ 2499519 h 5043488"/>
                <a:gd name="connsiteX328" fmla="*/ 2860512 w 4484687"/>
                <a:gd name="connsiteY328" fmla="*/ 2520950 h 5043488"/>
                <a:gd name="connsiteX329" fmla="*/ 2777150 w 4484687"/>
                <a:gd name="connsiteY329" fmla="*/ 2548732 h 5043488"/>
                <a:gd name="connsiteX330" fmla="*/ 2696170 w 4484687"/>
                <a:gd name="connsiteY330" fmla="*/ 2581275 h 5043488"/>
                <a:gd name="connsiteX331" fmla="*/ 2696170 w 4484687"/>
                <a:gd name="connsiteY331" fmla="*/ 991394 h 5043488"/>
                <a:gd name="connsiteX332" fmla="*/ 2691406 w 4484687"/>
                <a:gd name="connsiteY332" fmla="*/ 963613 h 5043488"/>
                <a:gd name="connsiteX333" fmla="*/ 2679497 w 4484687"/>
                <a:gd name="connsiteY333" fmla="*/ 941388 h 5043488"/>
                <a:gd name="connsiteX334" fmla="*/ 2660443 w 4484687"/>
                <a:gd name="connsiteY334" fmla="*/ 922338 h 5043488"/>
                <a:gd name="connsiteX335" fmla="*/ 2637419 w 4484687"/>
                <a:gd name="connsiteY335" fmla="*/ 910432 h 5043488"/>
                <a:gd name="connsiteX336" fmla="*/ 2610426 w 4484687"/>
                <a:gd name="connsiteY336" fmla="*/ 905669 h 5043488"/>
                <a:gd name="connsiteX337" fmla="*/ 423162 w 4484687"/>
                <a:gd name="connsiteY337" fmla="*/ 905669 h 5043488"/>
                <a:gd name="connsiteX338" fmla="*/ 395375 w 4484687"/>
                <a:gd name="connsiteY338" fmla="*/ 910432 h 5043488"/>
                <a:gd name="connsiteX339" fmla="*/ 372351 w 4484687"/>
                <a:gd name="connsiteY339" fmla="*/ 922338 h 5043488"/>
                <a:gd name="connsiteX340" fmla="*/ 354091 w 4484687"/>
                <a:gd name="connsiteY340" fmla="*/ 941388 h 5043488"/>
                <a:gd name="connsiteX341" fmla="*/ 342182 w 4484687"/>
                <a:gd name="connsiteY341" fmla="*/ 963613 h 5043488"/>
                <a:gd name="connsiteX342" fmla="*/ 337418 w 4484687"/>
                <a:gd name="connsiteY342" fmla="*/ 991394 h 5043488"/>
                <a:gd name="connsiteX343" fmla="*/ 337418 w 4484687"/>
                <a:gd name="connsiteY343" fmla="*/ 4136232 h 5043488"/>
                <a:gd name="connsiteX344" fmla="*/ 342182 w 4484687"/>
                <a:gd name="connsiteY344" fmla="*/ 4164013 h 5043488"/>
                <a:gd name="connsiteX345" fmla="*/ 354091 w 4484687"/>
                <a:gd name="connsiteY345" fmla="*/ 4187032 h 5043488"/>
                <a:gd name="connsiteX346" fmla="*/ 372351 w 4484687"/>
                <a:gd name="connsiteY346" fmla="*/ 4205288 h 5043488"/>
                <a:gd name="connsiteX347" fmla="*/ 395375 w 4484687"/>
                <a:gd name="connsiteY347" fmla="*/ 4217988 h 5043488"/>
                <a:gd name="connsiteX348" fmla="*/ 423162 w 4484687"/>
                <a:gd name="connsiteY348" fmla="*/ 4222751 h 5043488"/>
                <a:gd name="connsiteX349" fmla="*/ 1927650 w 4484687"/>
                <a:gd name="connsiteY349" fmla="*/ 4222751 h 5043488"/>
                <a:gd name="connsiteX350" fmla="*/ 1957025 w 4484687"/>
                <a:gd name="connsiteY350" fmla="*/ 4311651 h 5043488"/>
                <a:gd name="connsiteX351" fmla="*/ 1991958 w 4484687"/>
                <a:gd name="connsiteY351" fmla="*/ 4397376 h 5043488"/>
                <a:gd name="connsiteX352" fmla="*/ 2033242 w 4484687"/>
                <a:gd name="connsiteY352" fmla="*/ 4481513 h 5043488"/>
                <a:gd name="connsiteX353" fmla="*/ 2079290 w 4484687"/>
                <a:gd name="connsiteY353" fmla="*/ 4560888 h 5043488"/>
                <a:gd name="connsiteX354" fmla="*/ 423162 w 4484687"/>
                <a:gd name="connsiteY354" fmla="*/ 4560888 h 5043488"/>
                <a:gd name="connsiteX355" fmla="*/ 360442 w 4484687"/>
                <a:gd name="connsiteY355" fmla="*/ 4556919 h 5043488"/>
                <a:gd name="connsiteX356" fmla="*/ 300898 w 4484687"/>
                <a:gd name="connsiteY356" fmla="*/ 4542632 h 5043488"/>
                <a:gd name="connsiteX357" fmla="*/ 245323 w 4484687"/>
                <a:gd name="connsiteY357" fmla="*/ 4521201 h 5043488"/>
                <a:gd name="connsiteX358" fmla="*/ 192924 w 4484687"/>
                <a:gd name="connsiteY358" fmla="*/ 4491832 h 5043488"/>
                <a:gd name="connsiteX359" fmla="*/ 146082 w 4484687"/>
                <a:gd name="connsiteY359" fmla="*/ 4456907 h 5043488"/>
                <a:gd name="connsiteX360" fmla="*/ 102417 w 4484687"/>
                <a:gd name="connsiteY360" fmla="*/ 4415632 h 5043488"/>
                <a:gd name="connsiteX361" fmla="*/ 67484 w 4484687"/>
                <a:gd name="connsiteY361" fmla="*/ 4368007 h 5043488"/>
                <a:gd name="connsiteX362" fmla="*/ 38109 w 4484687"/>
                <a:gd name="connsiteY362" fmla="*/ 4315619 h 5043488"/>
                <a:gd name="connsiteX363" fmla="*/ 16673 w 4484687"/>
                <a:gd name="connsiteY363" fmla="*/ 4259263 h 5043488"/>
                <a:gd name="connsiteX364" fmla="*/ 4764 w 4484687"/>
                <a:gd name="connsiteY364" fmla="*/ 4199732 h 5043488"/>
                <a:gd name="connsiteX365" fmla="*/ 0 w 4484687"/>
                <a:gd name="connsiteY365" fmla="*/ 4136232 h 5043488"/>
                <a:gd name="connsiteX366" fmla="*/ 0 w 4484687"/>
                <a:gd name="connsiteY366" fmla="*/ 991394 h 5043488"/>
                <a:gd name="connsiteX367" fmla="*/ 4764 w 4484687"/>
                <a:gd name="connsiteY367" fmla="*/ 928688 h 5043488"/>
                <a:gd name="connsiteX368" fmla="*/ 16673 w 4484687"/>
                <a:gd name="connsiteY368" fmla="*/ 869157 h 5043488"/>
                <a:gd name="connsiteX369" fmla="*/ 38109 w 4484687"/>
                <a:gd name="connsiteY369" fmla="*/ 812006 h 5043488"/>
                <a:gd name="connsiteX370" fmla="*/ 67484 w 4484687"/>
                <a:gd name="connsiteY370" fmla="*/ 760413 h 5043488"/>
                <a:gd name="connsiteX371" fmla="*/ 102417 w 4484687"/>
                <a:gd name="connsiteY371" fmla="*/ 714375 h 5043488"/>
                <a:gd name="connsiteX372" fmla="*/ 146082 w 4484687"/>
                <a:gd name="connsiteY372" fmla="*/ 671513 h 5043488"/>
                <a:gd name="connsiteX373" fmla="*/ 192924 w 4484687"/>
                <a:gd name="connsiteY373" fmla="*/ 635794 h 5043488"/>
                <a:gd name="connsiteX374" fmla="*/ 245323 w 4484687"/>
                <a:gd name="connsiteY374" fmla="*/ 607219 h 5043488"/>
                <a:gd name="connsiteX375" fmla="*/ 300898 w 4484687"/>
                <a:gd name="connsiteY375" fmla="*/ 585788 h 5043488"/>
                <a:gd name="connsiteX376" fmla="*/ 360442 w 4484687"/>
                <a:gd name="connsiteY376" fmla="*/ 571501 h 5043488"/>
                <a:gd name="connsiteX377" fmla="*/ 423162 w 4484687"/>
                <a:gd name="connsiteY377" fmla="*/ 566738 h 5043488"/>
                <a:gd name="connsiteX378" fmla="*/ 567657 w 4484687"/>
                <a:gd name="connsiteY378" fmla="*/ 566738 h 5043488"/>
                <a:gd name="connsiteX379" fmla="*/ 567657 w 4484687"/>
                <a:gd name="connsiteY379" fmla="*/ 423069 h 5043488"/>
                <a:gd name="connsiteX380" fmla="*/ 572420 w 4484687"/>
                <a:gd name="connsiteY380" fmla="*/ 360363 h 5043488"/>
                <a:gd name="connsiteX381" fmla="*/ 585917 w 4484687"/>
                <a:gd name="connsiteY381" fmla="*/ 300038 h 5043488"/>
                <a:gd name="connsiteX382" fmla="*/ 607353 w 4484687"/>
                <a:gd name="connsiteY382" fmla="*/ 245269 h 5043488"/>
                <a:gd name="connsiteX383" fmla="*/ 635140 w 4484687"/>
                <a:gd name="connsiteY383" fmla="*/ 192882 h 5043488"/>
                <a:gd name="connsiteX384" fmla="*/ 671661 w 4484687"/>
                <a:gd name="connsiteY384" fmla="*/ 145257 h 5043488"/>
                <a:gd name="connsiteX385" fmla="*/ 712945 w 4484687"/>
                <a:gd name="connsiteY385" fmla="*/ 103982 h 5043488"/>
                <a:gd name="connsiteX386" fmla="*/ 760580 w 4484687"/>
                <a:gd name="connsiteY386" fmla="*/ 67469 h 5043488"/>
                <a:gd name="connsiteX387" fmla="*/ 812979 w 4484687"/>
                <a:gd name="connsiteY387" fmla="*/ 39688 h 5043488"/>
                <a:gd name="connsiteX388" fmla="*/ 867760 w 4484687"/>
                <a:gd name="connsiteY388" fmla="*/ 18256 h 5043488"/>
                <a:gd name="connsiteX389" fmla="*/ 928099 w 4484687"/>
                <a:gd name="connsiteY389" fmla="*/ 4763 h 504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Lst>
              <a:rect l="l" t="t" r="r" b="b"/>
              <a:pathLst>
                <a:path w="4484687" h="5043488">
                  <a:moveTo>
                    <a:pt x="941387" y="3479800"/>
                  </a:moveTo>
                  <a:lnTo>
                    <a:pt x="1920875" y="3479800"/>
                  </a:lnTo>
                  <a:lnTo>
                    <a:pt x="1901031" y="3562157"/>
                  </a:lnTo>
                  <a:lnTo>
                    <a:pt x="1887538" y="3645306"/>
                  </a:lnTo>
                  <a:lnTo>
                    <a:pt x="1876425" y="3730830"/>
                  </a:lnTo>
                  <a:lnTo>
                    <a:pt x="1873250" y="3817938"/>
                  </a:lnTo>
                  <a:lnTo>
                    <a:pt x="941387" y="3817938"/>
                  </a:lnTo>
                  <a:lnTo>
                    <a:pt x="903287" y="3813187"/>
                  </a:lnTo>
                  <a:lnTo>
                    <a:pt x="865981" y="3799725"/>
                  </a:lnTo>
                  <a:lnTo>
                    <a:pt x="835819" y="3779927"/>
                  </a:lnTo>
                  <a:lnTo>
                    <a:pt x="809625" y="3753795"/>
                  </a:lnTo>
                  <a:lnTo>
                    <a:pt x="789781" y="3722911"/>
                  </a:lnTo>
                  <a:lnTo>
                    <a:pt x="777081" y="3688068"/>
                  </a:lnTo>
                  <a:lnTo>
                    <a:pt x="773112" y="3647681"/>
                  </a:lnTo>
                  <a:lnTo>
                    <a:pt x="777081" y="3609671"/>
                  </a:lnTo>
                  <a:lnTo>
                    <a:pt x="789781" y="3574827"/>
                  </a:lnTo>
                  <a:lnTo>
                    <a:pt x="809625" y="3542360"/>
                  </a:lnTo>
                  <a:lnTo>
                    <a:pt x="835819" y="3516227"/>
                  </a:lnTo>
                  <a:lnTo>
                    <a:pt x="865981" y="3496430"/>
                  </a:lnTo>
                  <a:lnTo>
                    <a:pt x="903287" y="3484552"/>
                  </a:lnTo>
                  <a:close/>
                  <a:moveTo>
                    <a:pt x="941387" y="2803525"/>
                  </a:moveTo>
                  <a:lnTo>
                    <a:pt x="2091531" y="2803525"/>
                  </a:lnTo>
                  <a:lnTo>
                    <a:pt x="2131219" y="2807494"/>
                  </a:lnTo>
                  <a:lnTo>
                    <a:pt x="2166144" y="2821781"/>
                  </a:lnTo>
                  <a:lnTo>
                    <a:pt x="2198688" y="2841625"/>
                  </a:lnTo>
                  <a:lnTo>
                    <a:pt x="2224881" y="2869406"/>
                  </a:lnTo>
                  <a:lnTo>
                    <a:pt x="2244725" y="2901156"/>
                  </a:lnTo>
                  <a:lnTo>
                    <a:pt x="2178844" y="2976563"/>
                  </a:lnTo>
                  <a:lnTo>
                    <a:pt x="2119313" y="3055938"/>
                  </a:lnTo>
                  <a:lnTo>
                    <a:pt x="2063750" y="3140075"/>
                  </a:lnTo>
                  <a:lnTo>
                    <a:pt x="941387" y="3140075"/>
                  </a:lnTo>
                  <a:lnTo>
                    <a:pt x="903287" y="3136106"/>
                  </a:lnTo>
                  <a:lnTo>
                    <a:pt x="865981" y="3123406"/>
                  </a:lnTo>
                  <a:lnTo>
                    <a:pt x="835819" y="3103563"/>
                  </a:lnTo>
                  <a:lnTo>
                    <a:pt x="809625" y="3077369"/>
                  </a:lnTo>
                  <a:lnTo>
                    <a:pt x="789781" y="3047206"/>
                  </a:lnTo>
                  <a:lnTo>
                    <a:pt x="777081" y="3009900"/>
                  </a:lnTo>
                  <a:lnTo>
                    <a:pt x="773112" y="2971800"/>
                  </a:lnTo>
                  <a:lnTo>
                    <a:pt x="777081" y="2933700"/>
                  </a:lnTo>
                  <a:lnTo>
                    <a:pt x="789781" y="2897981"/>
                  </a:lnTo>
                  <a:lnTo>
                    <a:pt x="809625" y="2866231"/>
                  </a:lnTo>
                  <a:lnTo>
                    <a:pt x="835819" y="2840038"/>
                  </a:lnTo>
                  <a:lnTo>
                    <a:pt x="865981" y="2820194"/>
                  </a:lnTo>
                  <a:lnTo>
                    <a:pt x="903287" y="2807494"/>
                  </a:lnTo>
                  <a:close/>
                  <a:moveTo>
                    <a:pt x="3246041" y="2635250"/>
                  </a:moveTo>
                  <a:lnTo>
                    <a:pt x="3336499" y="2638423"/>
                  </a:lnTo>
                  <a:lnTo>
                    <a:pt x="3425369" y="2649528"/>
                  </a:lnTo>
                  <a:lnTo>
                    <a:pt x="3512653" y="2664600"/>
                  </a:lnTo>
                  <a:lnTo>
                    <a:pt x="3597556" y="2687603"/>
                  </a:lnTo>
                  <a:lnTo>
                    <a:pt x="3680079" y="2716953"/>
                  </a:lnTo>
                  <a:lnTo>
                    <a:pt x="3757841" y="2750268"/>
                  </a:lnTo>
                  <a:lnTo>
                    <a:pt x="3618981" y="2975545"/>
                  </a:lnTo>
                  <a:lnTo>
                    <a:pt x="3549947" y="2947782"/>
                  </a:lnTo>
                  <a:lnTo>
                    <a:pt x="3476153" y="2926365"/>
                  </a:lnTo>
                  <a:lnTo>
                    <a:pt x="3400771" y="2911293"/>
                  </a:lnTo>
                  <a:lnTo>
                    <a:pt x="3324596" y="2901775"/>
                  </a:lnTo>
                  <a:lnTo>
                    <a:pt x="3246041" y="2898602"/>
                  </a:lnTo>
                  <a:lnTo>
                    <a:pt x="3151616" y="2903361"/>
                  </a:lnTo>
                  <a:lnTo>
                    <a:pt x="3057984" y="2916846"/>
                  </a:lnTo>
                  <a:lnTo>
                    <a:pt x="2967526" y="2939850"/>
                  </a:lnTo>
                  <a:lnTo>
                    <a:pt x="2880243" y="2972372"/>
                  </a:lnTo>
                  <a:lnTo>
                    <a:pt x="2798513" y="3012033"/>
                  </a:lnTo>
                  <a:lnTo>
                    <a:pt x="2720751" y="3059627"/>
                  </a:lnTo>
                  <a:lnTo>
                    <a:pt x="2648544" y="3113566"/>
                  </a:lnTo>
                  <a:lnTo>
                    <a:pt x="2581097" y="3174645"/>
                  </a:lnTo>
                  <a:lnTo>
                    <a:pt x="2521586" y="3240483"/>
                  </a:lnTo>
                  <a:lnTo>
                    <a:pt x="2466042" y="3314253"/>
                  </a:lnTo>
                  <a:lnTo>
                    <a:pt x="2418432" y="3390403"/>
                  </a:lnTo>
                  <a:lnTo>
                    <a:pt x="2378758" y="3472898"/>
                  </a:lnTo>
                  <a:lnTo>
                    <a:pt x="2347812" y="3559360"/>
                  </a:lnTo>
                  <a:lnTo>
                    <a:pt x="2324801" y="3648995"/>
                  </a:lnTo>
                  <a:lnTo>
                    <a:pt x="2309724" y="3742595"/>
                  </a:lnTo>
                  <a:lnTo>
                    <a:pt x="2304963" y="3839369"/>
                  </a:lnTo>
                  <a:lnTo>
                    <a:pt x="2309724" y="3934556"/>
                  </a:lnTo>
                  <a:lnTo>
                    <a:pt x="2324801" y="4027364"/>
                  </a:lnTo>
                  <a:lnTo>
                    <a:pt x="2347812" y="4117792"/>
                  </a:lnTo>
                  <a:lnTo>
                    <a:pt x="2378758" y="4203461"/>
                  </a:lnTo>
                  <a:lnTo>
                    <a:pt x="2418432" y="4286749"/>
                  </a:lnTo>
                  <a:lnTo>
                    <a:pt x="2466042" y="4364486"/>
                  </a:lnTo>
                  <a:lnTo>
                    <a:pt x="2521586" y="4436669"/>
                  </a:lnTo>
                  <a:lnTo>
                    <a:pt x="2581097" y="4504094"/>
                  </a:lnTo>
                  <a:lnTo>
                    <a:pt x="2648544" y="4563586"/>
                  </a:lnTo>
                  <a:lnTo>
                    <a:pt x="2720751" y="4619112"/>
                  </a:lnTo>
                  <a:lnTo>
                    <a:pt x="2798513" y="4665119"/>
                  </a:lnTo>
                  <a:lnTo>
                    <a:pt x="2880243" y="4704780"/>
                  </a:lnTo>
                  <a:lnTo>
                    <a:pt x="2967526" y="4736509"/>
                  </a:lnTo>
                  <a:lnTo>
                    <a:pt x="3057984" y="4759513"/>
                  </a:lnTo>
                  <a:lnTo>
                    <a:pt x="3151616" y="4773791"/>
                  </a:lnTo>
                  <a:lnTo>
                    <a:pt x="3246041" y="4779343"/>
                  </a:lnTo>
                  <a:lnTo>
                    <a:pt x="3342847" y="4773791"/>
                  </a:lnTo>
                  <a:lnTo>
                    <a:pt x="3436478" y="4759513"/>
                  </a:lnTo>
                  <a:lnTo>
                    <a:pt x="3526936" y="4736509"/>
                  </a:lnTo>
                  <a:lnTo>
                    <a:pt x="3612633" y="4704780"/>
                  </a:lnTo>
                  <a:lnTo>
                    <a:pt x="3695156" y="4665119"/>
                  </a:lnTo>
                  <a:lnTo>
                    <a:pt x="3772124" y="4619112"/>
                  </a:lnTo>
                  <a:lnTo>
                    <a:pt x="3845918" y="4563586"/>
                  </a:lnTo>
                  <a:lnTo>
                    <a:pt x="3911778" y="4504094"/>
                  </a:lnTo>
                  <a:lnTo>
                    <a:pt x="3972877" y="4436669"/>
                  </a:lnTo>
                  <a:lnTo>
                    <a:pt x="4026834" y="4364486"/>
                  </a:lnTo>
                  <a:lnTo>
                    <a:pt x="4073650" y="4286749"/>
                  </a:lnTo>
                  <a:lnTo>
                    <a:pt x="4114118" y="4203461"/>
                  </a:lnTo>
                  <a:lnTo>
                    <a:pt x="4145857" y="4117792"/>
                  </a:lnTo>
                  <a:lnTo>
                    <a:pt x="4168868" y="4027364"/>
                  </a:lnTo>
                  <a:lnTo>
                    <a:pt x="4183151" y="3934556"/>
                  </a:lnTo>
                  <a:lnTo>
                    <a:pt x="4187118" y="3839369"/>
                  </a:lnTo>
                  <a:lnTo>
                    <a:pt x="4183944" y="3759253"/>
                  </a:lnTo>
                  <a:lnTo>
                    <a:pt x="4173629" y="3681517"/>
                  </a:lnTo>
                  <a:lnTo>
                    <a:pt x="4156966" y="3606160"/>
                  </a:lnTo>
                  <a:lnTo>
                    <a:pt x="4334707" y="3322978"/>
                  </a:lnTo>
                  <a:lnTo>
                    <a:pt x="4368034" y="3403094"/>
                  </a:lnTo>
                  <a:lnTo>
                    <a:pt x="4397393" y="3485590"/>
                  </a:lnTo>
                  <a:lnTo>
                    <a:pt x="4420404" y="3571258"/>
                  </a:lnTo>
                  <a:lnTo>
                    <a:pt x="4437067" y="3658513"/>
                  </a:lnTo>
                  <a:lnTo>
                    <a:pt x="4448176" y="3747355"/>
                  </a:lnTo>
                  <a:lnTo>
                    <a:pt x="4451350" y="3839369"/>
                  </a:lnTo>
                  <a:lnTo>
                    <a:pt x="4446589" y="3941696"/>
                  </a:lnTo>
                  <a:lnTo>
                    <a:pt x="4433893" y="4044815"/>
                  </a:lnTo>
                  <a:lnTo>
                    <a:pt x="4412469" y="4142382"/>
                  </a:lnTo>
                  <a:lnTo>
                    <a:pt x="4383904" y="4237569"/>
                  </a:lnTo>
                  <a:lnTo>
                    <a:pt x="4346610" y="4329584"/>
                  </a:lnTo>
                  <a:lnTo>
                    <a:pt x="4302174" y="4418425"/>
                  </a:lnTo>
                  <a:lnTo>
                    <a:pt x="4251391" y="4500921"/>
                  </a:lnTo>
                  <a:lnTo>
                    <a:pt x="4195053" y="4580243"/>
                  </a:lnTo>
                  <a:lnTo>
                    <a:pt x="4132368" y="4654014"/>
                  </a:lnTo>
                  <a:lnTo>
                    <a:pt x="4063334" y="4723024"/>
                  </a:lnTo>
                  <a:lnTo>
                    <a:pt x="3987953" y="4785689"/>
                  </a:lnTo>
                  <a:lnTo>
                    <a:pt x="3910191" y="4844388"/>
                  </a:lnTo>
                  <a:lnTo>
                    <a:pt x="3825288" y="4894361"/>
                  </a:lnTo>
                  <a:lnTo>
                    <a:pt x="3738004" y="4937196"/>
                  </a:lnTo>
                  <a:lnTo>
                    <a:pt x="3645959" y="4974477"/>
                  </a:lnTo>
                  <a:lnTo>
                    <a:pt x="3549947" y="5003034"/>
                  </a:lnTo>
                  <a:lnTo>
                    <a:pt x="3451555" y="5024451"/>
                  </a:lnTo>
                  <a:lnTo>
                    <a:pt x="3350781" y="5038729"/>
                  </a:lnTo>
                  <a:lnTo>
                    <a:pt x="3246041" y="5043488"/>
                  </a:lnTo>
                  <a:lnTo>
                    <a:pt x="3142094" y="5038729"/>
                  </a:lnTo>
                  <a:lnTo>
                    <a:pt x="3040527" y="5024451"/>
                  </a:lnTo>
                  <a:lnTo>
                    <a:pt x="2942928" y="5003034"/>
                  </a:lnTo>
                  <a:lnTo>
                    <a:pt x="2847710" y="4974477"/>
                  </a:lnTo>
                  <a:lnTo>
                    <a:pt x="2755665" y="4937196"/>
                  </a:lnTo>
                  <a:lnTo>
                    <a:pt x="2666794" y="4894361"/>
                  </a:lnTo>
                  <a:lnTo>
                    <a:pt x="2584271" y="4844388"/>
                  </a:lnTo>
                  <a:lnTo>
                    <a:pt x="2504129" y="4785689"/>
                  </a:lnTo>
                  <a:lnTo>
                    <a:pt x="2431128" y="4723024"/>
                  </a:lnTo>
                  <a:lnTo>
                    <a:pt x="2362095" y="4654014"/>
                  </a:lnTo>
                  <a:lnTo>
                    <a:pt x="2297822" y="4580243"/>
                  </a:lnTo>
                  <a:lnTo>
                    <a:pt x="2240691" y="4500921"/>
                  </a:lnTo>
                  <a:lnTo>
                    <a:pt x="2189908" y="4418425"/>
                  </a:lnTo>
                  <a:lnTo>
                    <a:pt x="2145472" y="4329584"/>
                  </a:lnTo>
                  <a:lnTo>
                    <a:pt x="2108972" y="4237569"/>
                  </a:lnTo>
                  <a:lnTo>
                    <a:pt x="2079613" y="4142382"/>
                  </a:lnTo>
                  <a:lnTo>
                    <a:pt x="2059775" y="4044815"/>
                  </a:lnTo>
                  <a:lnTo>
                    <a:pt x="2046286" y="3941696"/>
                  </a:lnTo>
                  <a:lnTo>
                    <a:pt x="2041525" y="3839369"/>
                  </a:lnTo>
                  <a:lnTo>
                    <a:pt x="2046286" y="3735456"/>
                  </a:lnTo>
                  <a:lnTo>
                    <a:pt x="2059775" y="3633923"/>
                  </a:lnTo>
                  <a:lnTo>
                    <a:pt x="2079613" y="3534770"/>
                  </a:lnTo>
                  <a:lnTo>
                    <a:pt x="2108972" y="3439583"/>
                  </a:lnTo>
                  <a:lnTo>
                    <a:pt x="2145472" y="3347568"/>
                  </a:lnTo>
                  <a:lnTo>
                    <a:pt x="2189908" y="3260313"/>
                  </a:lnTo>
                  <a:lnTo>
                    <a:pt x="2240691" y="3176231"/>
                  </a:lnTo>
                  <a:lnTo>
                    <a:pt x="2297822" y="3096115"/>
                  </a:lnTo>
                  <a:lnTo>
                    <a:pt x="2362095" y="3023138"/>
                  </a:lnTo>
                  <a:lnTo>
                    <a:pt x="2431128" y="2954128"/>
                  </a:lnTo>
                  <a:lnTo>
                    <a:pt x="2504129" y="2891463"/>
                  </a:lnTo>
                  <a:lnTo>
                    <a:pt x="2584271" y="2834350"/>
                  </a:lnTo>
                  <a:lnTo>
                    <a:pt x="2666794" y="2783584"/>
                  </a:lnTo>
                  <a:lnTo>
                    <a:pt x="2755665" y="2739163"/>
                  </a:lnTo>
                  <a:lnTo>
                    <a:pt x="2847710" y="2702674"/>
                  </a:lnTo>
                  <a:lnTo>
                    <a:pt x="2942928" y="2673325"/>
                  </a:lnTo>
                  <a:lnTo>
                    <a:pt x="3040527" y="2651908"/>
                  </a:lnTo>
                  <a:lnTo>
                    <a:pt x="3142094" y="2638423"/>
                  </a:lnTo>
                  <a:close/>
                  <a:moveTo>
                    <a:pt x="4265612" y="2463800"/>
                  </a:moveTo>
                  <a:lnTo>
                    <a:pt x="4305300" y="2466977"/>
                  </a:lnTo>
                  <a:lnTo>
                    <a:pt x="4344987" y="2478893"/>
                  </a:lnTo>
                  <a:lnTo>
                    <a:pt x="4382293" y="2497163"/>
                  </a:lnTo>
                  <a:lnTo>
                    <a:pt x="4414043" y="2520198"/>
                  </a:lnTo>
                  <a:lnTo>
                    <a:pt x="4440237" y="2549589"/>
                  </a:lnTo>
                  <a:lnTo>
                    <a:pt x="4460081" y="2580569"/>
                  </a:lnTo>
                  <a:lnTo>
                    <a:pt x="4474368" y="2615520"/>
                  </a:lnTo>
                  <a:lnTo>
                    <a:pt x="4483100" y="2652059"/>
                  </a:lnTo>
                  <a:lnTo>
                    <a:pt x="4484687" y="2689393"/>
                  </a:lnTo>
                  <a:lnTo>
                    <a:pt x="4481512" y="2727522"/>
                  </a:lnTo>
                  <a:lnTo>
                    <a:pt x="4469606" y="2764062"/>
                  </a:lnTo>
                  <a:lnTo>
                    <a:pt x="4452937" y="2799807"/>
                  </a:lnTo>
                  <a:lnTo>
                    <a:pt x="3402012" y="4486991"/>
                  </a:lnTo>
                  <a:lnTo>
                    <a:pt x="3380581" y="4515588"/>
                  </a:lnTo>
                  <a:lnTo>
                    <a:pt x="3354387" y="4541801"/>
                  </a:lnTo>
                  <a:lnTo>
                    <a:pt x="3325812" y="4561659"/>
                  </a:lnTo>
                  <a:lnTo>
                    <a:pt x="3293268" y="4577546"/>
                  </a:lnTo>
                  <a:lnTo>
                    <a:pt x="3258343" y="4586284"/>
                  </a:lnTo>
                  <a:lnTo>
                    <a:pt x="3221037" y="4591050"/>
                  </a:lnTo>
                  <a:lnTo>
                    <a:pt x="3217068" y="4591050"/>
                  </a:lnTo>
                  <a:lnTo>
                    <a:pt x="3174206" y="4586284"/>
                  </a:lnTo>
                  <a:lnTo>
                    <a:pt x="3133725" y="4574369"/>
                  </a:lnTo>
                  <a:lnTo>
                    <a:pt x="3097212" y="4556099"/>
                  </a:lnTo>
                  <a:lnTo>
                    <a:pt x="3063081" y="4529886"/>
                  </a:lnTo>
                  <a:lnTo>
                    <a:pt x="3036093" y="4497318"/>
                  </a:lnTo>
                  <a:lnTo>
                    <a:pt x="2552700" y="3807034"/>
                  </a:lnTo>
                  <a:lnTo>
                    <a:pt x="2532856" y="3772083"/>
                  </a:lnTo>
                  <a:lnTo>
                    <a:pt x="2519362" y="3736337"/>
                  </a:lnTo>
                  <a:lnTo>
                    <a:pt x="2513012" y="3698209"/>
                  </a:lnTo>
                  <a:lnTo>
                    <a:pt x="2513012" y="3661669"/>
                  </a:lnTo>
                  <a:lnTo>
                    <a:pt x="2519362" y="3625129"/>
                  </a:lnTo>
                  <a:lnTo>
                    <a:pt x="2532856" y="3589384"/>
                  </a:lnTo>
                  <a:lnTo>
                    <a:pt x="2551112" y="3556022"/>
                  </a:lnTo>
                  <a:lnTo>
                    <a:pt x="2575718" y="3526631"/>
                  </a:lnTo>
                  <a:lnTo>
                    <a:pt x="2606675" y="3500418"/>
                  </a:lnTo>
                  <a:lnTo>
                    <a:pt x="2636043" y="3483736"/>
                  </a:lnTo>
                  <a:lnTo>
                    <a:pt x="2667793" y="3471027"/>
                  </a:lnTo>
                  <a:lnTo>
                    <a:pt x="2700337" y="3463878"/>
                  </a:lnTo>
                  <a:lnTo>
                    <a:pt x="2732087" y="3460700"/>
                  </a:lnTo>
                  <a:lnTo>
                    <a:pt x="2766218" y="3463878"/>
                  </a:lnTo>
                  <a:lnTo>
                    <a:pt x="2799556" y="3471027"/>
                  </a:lnTo>
                  <a:lnTo>
                    <a:pt x="2832100" y="3485325"/>
                  </a:lnTo>
                  <a:lnTo>
                    <a:pt x="2862262" y="3503595"/>
                  </a:lnTo>
                  <a:lnTo>
                    <a:pt x="2888456" y="3526631"/>
                  </a:lnTo>
                  <a:lnTo>
                    <a:pt x="2911475" y="3554433"/>
                  </a:lnTo>
                  <a:lnTo>
                    <a:pt x="3204368" y="3973051"/>
                  </a:lnTo>
                  <a:lnTo>
                    <a:pt x="4078287" y="2566270"/>
                  </a:lnTo>
                  <a:lnTo>
                    <a:pt x="4102893" y="2536085"/>
                  </a:lnTo>
                  <a:lnTo>
                    <a:pt x="4129087" y="2511461"/>
                  </a:lnTo>
                  <a:lnTo>
                    <a:pt x="4160837" y="2490013"/>
                  </a:lnTo>
                  <a:lnTo>
                    <a:pt x="4193381" y="2475715"/>
                  </a:lnTo>
                  <a:lnTo>
                    <a:pt x="4228306" y="2466977"/>
                  </a:lnTo>
                  <a:close/>
                  <a:moveTo>
                    <a:pt x="941477" y="2127250"/>
                  </a:moveTo>
                  <a:lnTo>
                    <a:pt x="2092235" y="2127250"/>
                  </a:lnTo>
                  <a:lnTo>
                    <a:pt x="2130356" y="2132001"/>
                  </a:lnTo>
                  <a:lnTo>
                    <a:pt x="2166888" y="2143880"/>
                  </a:lnTo>
                  <a:lnTo>
                    <a:pt x="2197860" y="2163677"/>
                  </a:lnTo>
                  <a:lnTo>
                    <a:pt x="2224068" y="2189809"/>
                  </a:lnTo>
                  <a:lnTo>
                    <a:pt x="2243923" y="2220692"/>
                  </a:lnTo>
                  <a:lnTo>
                    <a:pt x="2257423" y="2257119"/>
                  </a:lnTo>
                  <a:lnTo>
                    <a:pt x="2260600" y="2295129"/>
                  </a:lnTo>
                  <a:lnTo>
                    <a:pt x="2257423" y="2333931"/>
                  </a:lnTo>
                  <a:lnTo>
                    <a:pt x="2243923" y="2368774"/>
                  </a:lnTo>
                  <a:lnTo>
                    <a:pt x="2224068" y="2401241"/>
                  </a:lnTo>
                  <a:lnTo>
                    <a:pt x="2197860" y="2426582"/>
                  </a:lnTo>
                  <a:lnTo>
                    <a:pt x="2166888" y="2447171"/>
                  </a:lnTo>
                  <a:lnTo>
                    <a:pt x="2130356" y="2459049"/>
                  </a:lnTo>
                  <a:lnTo>
                    <a:pt x="2092235" y="2463800"/>
                  </a:lnTo>
                  <a:lnTo>
                    <a:pt x="941477" y="2463800"/>
                  </a:lnTo>
                  <a:lnTo>
                    <a:pt x="903357" y="2459049"/>
                  </a:lnTo>
                  <a:lnTo>
                    <a:pt x="866031" y="2447171"/>
                  </a:lnTo>
                  <a:lnTo>
                    <a:pt x="835852" y="2426582"/>
                  </a:lnTo>
                  <a:lnTo>
                    <a:pt x="809644" y="2401241"/>
                  </a:lnTo>
                  <a:lnTo>
                    <a:pt x="789790" y="2368774"/>
                  </a:lnTo>
                  <a:lnTo>
                    <a:pt x="777083" y="2333931"/>
                  </a:lnTo>
                  <a:lnTo>
                    <a:pt x="773112" y="2295129"/>
                  </a:lnTo>
                  <a:lnTo>
                    <a:pt x="777083" y="2257119"/>
                  </a:lnTo>
                  <a:lnTo>
                    <a:pt x="789790" y="2220692"/>
                  </a:lnTo>
                  <a:lnTo>
                    <a:pt x="809644" y="2189809"/>
                  </a:lnTo>
                  <a:lnTo>
                    <a:pt x="835852" y="2163677"/>
                  </a:lnTo>
                  <a:lnTo>
                    <a:pt x="866031" y="2143880"/>
                  </a:lnTo>
                  <a:lnTo>
                    <a:pt x="903357" y="2132001"/>
                  </a:lnTo>
                  <a:close/>
                  <a:moveTo>
                    <a:pt x="941497" y="1449387"/>
                  </a:moveTo>
                  <a:lnTo>
                    <a:pt x="1822340" y="1449387"/>
                  </a:lnTo>
                  <a:lnTo>
                    <a:pt x="1860465" y="1453375"/>
                  </a:lnTo>
                  <a:lnTo>
                    <a:pt x="1896207" y="1466134"/>
                  </a:lnTo>
                  <a:lnTo>
                    <a:pt x="1927978" y="1486071"/>
                  </a:lnTo>
                  <a:lnTo>
                    <a:pt x="1954189" y="1513983"/>
                  </a:lnTo>
                  <a:lnTo>
                    <a:pt x="1974046" y="1544287"/>
                  </a:lnTo>
                  <a:lnTo>
                    <a:pt x="1985960" y="1580173"/>
                  </a:lnTo>
                  <a:lnTo>
                    <a:pt x="1990725" y="1618452"/>
                  </a:lnTo>
                  <a:lnTo>
                    <a:pt x="1985960" y="1658326"/>
                  </a:lnTo>
                  <a:lnTo>
                    <a:pt x="1974046" y="1694212"/>
                  </a:lnTo>
                  <a:lnTo>
                    <a:pt x="1954189" y="1724517"/>
                  </a:lnTo>
                  <a:lnTo>
                    <a:pt x="1927978" y="1752428"/>
                  </a:lnTo>
                  <a:lnTo>
                    <a:pt x="1896207" y="1772365"/>
                  </a:lnTo>
                  <a:lnTo>
                    <a:pt x="1860465" y="1785125"/>
                  </a:lnTo>
                  <a:lnTo>
                    <a:pt x="1822340" y="1789112"/>
                  </a:lnTo>
                  <a:lnTo>
                    <a:pt x="941497" y="1789112"/>
                  </a:lnTo>
                  <a:lnTo>
                    <a:pt x="903372" y="1785125"/>
                  </a:lnTo>
                  <a:lnTo>
                    <a:pt x="866042" y="1772365"/>
                  </a:lnTo>
                  <a:lnTo>
                    <a:pt x="835859" y="1752428"/>
                  </a:lnTo>
                  <a:lnTo>
                    <a:pt x="809649" y="1724517"/>
                  </a:lnTo>
                  <a:lnTo>
                    <a:pt x="789792" y="1694212"/>
                  </a:lnTo>
                  <a:lnTo>
                    <a:pt x="777084" y="1658326"/>
                  </a:lnTo>
                  <a:lnTo>
                    <a:pt x="773112" y="1618452"/>
                  </a:lnTo>
                  <a:lnTo>
                    <a:pt x="777084" y="1580173"/>
                  </a:lnTo>
                  <a:lnTo>
                    <a:pt x="789792" y="1544287"/>
                  </a:lnTo>
                  <a:lnTo>
                    <a:pt x="809649" y="1513983"/>
                  </a:lnTo>
                  <a:lnTo>
                    <a:pt x="835859" y="1486071"/>
                  </a:lnTo>
                  <a:lnTo>
                    <a:pt x="866042" y="1466134"/>
                  </a:lnTo>
                  <a:lnTo>
                    <a:pt x="903372" y="1453375"/>
                  </a:lnTo>
                  <a:close/>
                  <a:moveTo>
                    <a:pt x="990819" y="0"/>
                  </a:moveTo>
                  <a:lnTo>
                    <a:pt x="3178876" y="0"/>
                  </a:lnTo>
                  <a:lnTo>
                    <a:pt x="3240802" y="4763"/>
                  </a:lnTo>
                  <a:lnTo>
                    <a:pt x="3300347" y="18256"/>
                  </a:lnTo>
                  <a:lnTo>
                    <a:pt x="3356715" y="39688"/>
                  </a:lnTo>
                  <a:lnTo>
                    <a:pt x="3409114" y="67469"/>
                  </a:lnTo>
                  <a:lnTo>
                    <a:pt x="3456750" y="103982"/>
                  </a:lnTo>
                  <a:lnTo>
                    <a:pt x="3498034" y="145257"/>
                  </a:lnTo>
                  <a:lnTo>
                    <a:pt x="3533761" y="192882"/>
                  </a:lnTo>
                  <a:lnTo>
                    <a:pt x="3562342" y="245269"/>
                  </a:lnTo>
                  <a:lnTo>
                    <a:pt x="3583778" y="300038"/>
                  </a:lnTo>
                  <a:lnTo>
                    <a:pt x="3598068" y="360363"/>
                  </a:lnTo>
                  <a:lnTo>
                    <a:pt x="3602038" y="423069"/>
                  </a:lnTo>
                  <a:lnTo>
                    <a:pt x="3602038" y="2515394"/>
                  </a:lnTo>
                  <a:lnTo>
                    <a:pt x="3490095" y="2489200"/>
                  </a:lnTo>
                  <a:lnTo>
                    <a:pt x="3378151" y="2471738"/>
                  </a:lnTo>
                  <a:lnTo>
                    <a:pt x="3263826" y="2466182"/>
                  </a:lnTo>
                  <a:lnTo>
                    <a:pt x="3263826" y="423069"/>
                  </a:lnTo>
                  <a:lnTo>
                    <a:pt x="3259062" y="395288"/>
                  </a:lnTo>
                  <a:lnTo>
                    <a:pt x="3247948" y="372269"/>
                  </a:lnTo>
                  <a:lnTo>
                    <a:pt x="3228099" y="354013"/>
                  </a:lnTo>
                  <a:lnTo>
                    <a:pt x="3205076" y="342107"/>
                  </a:lnTo>
                  <a:lnTo>
                    <a:pt x="3178876" y="337345"/>
                  </a:lnTo>
                  <a:lnTo>
                    <a:pt x="990819" y="337345"/>
                  </a:lnTo>
                  <a:lnTo>
                    <a:pt x="964619" y="342107"/>
                  </a:lnTo>
                  <a:lnTo>
                    <a:pt x="940007" y="354013"/>
                  </a:lnTo>
                  <a:lnTo>
                    <a:pt x="921747" y="372269"/>
                  </a:lnTo>
                  <a:lnTo>
                    <a:pt x="909044" y="395288"/>
                  </a:lnTo>
                  <a:lnTo>
                    <a:pt x="905075" y="423069"/>
                  </a:lnTo>
                  <a:lnTo>
                    <a:pt x="905075" y="566738"/>
                  </a:lnTo>
                  <a:lnTo>
                    <a:pt x="2610426" y="566738"/>
                  </a:lnTo>
                  <a:lnTo>
                    <a:pt x="2673146" y="571501"/>
                  </a:lnTo>
                  <a:lnTo>
                    <a:pt x="2732690" y="585788"/>
                  </a:lnTo>
                  <a:lnTo>
                    <a:pt x="2789853" y="607219"/>
                  </a:lnTo>
                  <a:lnTo>
                    <a:pt x="2841458" y="635794"/>
                  </a:lnTo>
                  <a:lnTo>
                    <a:pt x="2887506" y="671513"/>
                  </a:lnTo>
                  <a:lnTo>
                    <a:pt x="2930378" y="714375"/>
                  </a:lnTo>
                  <a:lnTo>
                    <a:pt x="2966104" y="760413"/>
                  </a:lnTo>
                  <a:lnTo>
                    <a:pt x="2995479" y="812006"/>
                  </a:lnTo>
                  <a:lnTo>
                    <a:pt x="3016915" y="869157"/>
                  </a:lnTo>
                  <a:lnTo>
                    <a:pt x="3030412" y="928688"/>
                  </a:lnTo>
                  <a:lnTo>
                    <a:pt x="3035176" y="991394"/>
                  </a:lnTo>
                  <a:lnTo>
                    <a:pt x="3035176" y="2482850"/>
                  </a:lnTo>
                  <a:lnTo>
                    <a:pt x="2946256" y="2499519"/>
                  </a:lnTo>
                  <a:lnTo>
                    <a:pt x="2860512" y="2520950"/>
                  </a:lnTo>
                  <a:lnTo>
                    <a:pt x="2777150" y="2548732"/>
                  </a:lnTo>
                  <a:lnTo>
                    <a:pt x="2696170" y="2581275"/>
                  </a:lnTo>
                  <a:lnTo>
                    <a:pt x="2696170" y="991394"/>
                  </a:lnTo>
                  <a:lnTo>
                    <a:pt x="2691406" y="963613"/>
                  </a:lnTo>
                  <a:lnTo>
                    <a:pt x="2679497" y="941388"/>
                  </a:lnTo>
                  <a:lnTo>
                    <a:pt x="2660443" y="922338"/>
                  </a:lnTo>
                  <a:lnTo>
                    <a:pt x="2637419" y="910432"/>
                  </a:lnTo>
                  <a:lnTo>
                    <a:pt x="2610426" y="905669"/>
                  </a:lnTo>
                  <a:lnTo>
                    <a:pt x="423162" y="905669"/>
                  </a:lnTo>
                  <a:lnTo>
                    <a:pt x="395375" y="910432"/>
                  </a:lnTo>
                  <a:lnTo>
                    <a:pt x="372351" y="922338"/>
                  </a:lnTo>
                  <a:lnTo>
                    <a:pt x="354091" y="941388"/>
                  </a:lnTo>
                  <a:lnTo>
                    <a:pt x="342182" y="963613"/>
                  </a:lnTo>
                  <a:lnTo>
                    <a:pt x="337418" y="991394"/>
                  </a:lnTo>
                  <a:lnTo>
                    <a:pt x="337418" y="4136232"/>
                  </a:lnTo>
                  <a:lnTo>
                    <a:pt x="342182" y="4164013"/>
                  </a:lnTo>
                  <a:lnTo>
                    <a:pt x="354091" y="4187032"/>
                  </a:lnTo>
                  <a:lnTo>
                    <a:pt x="372351" y="4205288"/>
                  </a:lnTo>
                  <a:lnTo>
                    <a:pt x="395375" y="4217988"/>
                  </a:lnTo>
                  <a:lnTo>
                    <a:pt x="423162" y="4222751"/>
                  </a:lnTo>
                  <a:lnTo>
                    <a:pt x="1927650" y="4222751"/>
                  </a:lnTo>
                  <a:lnTo>
                    <a:pt x="1957025" y="4311651"/>
                  </a:lnTo>
                  <a:lnTo>
                    <a:pt x="1991958" y="4397376"/>
                  </a:lnTo>
                  <a:lnTo>
                    <a:pt x="2033242" y="4481513"/>
                  </a:lnTo>
                  <a:lnTo>
                    <a:pt x="2079290" y="4560888"/>
                  </a:lnTo>
                  <a:lnTo>
                    <a:pt x="423162" y="4560888"/>
                  </a:lnTo>
                  <a:lnTo>
                    <a:pt x="360442" y="4556919"/>
                  </a:lnTo>
                  <a:lnTo>
                    <a:pt x="300898" y="4542632"/>
                  </a:lnTo>
                  <a:lnTo>
                    <a:pt x="245323" y="4521201"/>
                  </a:lnTo>
                  <a:lnTo>
                    <a:pt x="192924" y="4491832"/>
                  </a:lnTo>
                  <a:lnTo>
                    <a:pt x="146082" y="4456907"/>
                  </a:lnTo>
                  <a:lnTo>
                    <a:pt x="102417" y="4415632"/>
                  </a:lnTo>
                  <a:lnTo>
                    <a:pt x="67484" y="4368007"/>
                  </a:lnTo>
                  <a:lnTo>
                    <a:pt x="38109" y="4315619"/>
                  </a:lnTo>
                  <a:lnTo>
                    <a:pt x="16673" y="4259263"/>
                  </a:lnTo>
                  <a:lnTo>
                    <a:pt x="4764" y="4199732"/>
                  </a:lnTo>
                  <a:lnTo>
                    <a:pt x="0" y="4136232"/>
                  </a:lnTo>
                  <a:lnTo>
                    <a:pt x="0" y="991394"/>
                  </a:lnTo>
                  <a:lnTo>
                    <a:pt x="4764" y="928688"/>
                  </a:lnTo>
                  <a:lnTo>
                    <a:pt x="16673" y="869157"/>
                  </a:lnTo>
                  <a:lnTo>
                    <a:pt x="38109" y="812006"/>
                  </a:lnTo>
                  <a:lnTo>
                    <a:pt x="67484" y="760413"/>
                  </a:lnTo>
                  <a:lnTo>
                    <a:pt x="102417" y="714375"/>
                  </a:lnTo>
                  <a:lnTo>
                    <a:pt x="146082" y="671513"/>
                  </a:lnTo>
                  <a:lnTo>
                    <a:pt x="192924" y="635794"/>
                  </a:lnTo>
                  <a:lnTo>
                    <a:pt x="245323" y="607219"/>
                  </a:lnTo>
                  <a:lnTo>
                    <a:pt x="300898" y="585788"/>
                  </a:lnTo>
                  <a:lnTo>
                    <a:pt x="360442" y="571501"/>
                  </a:lnTo>
                  <a:lnTo>
                    <a:pt x="423162" y="566738"/>
                  </a:lnTo>
                  <a:lnTo>
                    <a:pt x="567657" y="566738"/>
                  </a:lnTo>
                  <a:lnTo>
                    <a:pt x="567657" y="423069"/>
                  </a:lnTo>
                  <a:lnTo>
                    <a:pt x="572420" y="360363"/>
                  </a:lnTo>
                  <a:lnTo>
                    <a:pt x="585917" y="300038"/>
                  </a:lnTo>
                  <a:lnTo>
                    <a:pt x="607353" y="245269"/>
                  </a:lnTo>
                  <a:lnTo>
                    <a:pt x="635140" y="192882"/>
                  </a:lnTo>
                  <a:lnTo>
                    <a:pt x="671661" y="145257"/>
                  </a:lnTo>
                  <a:lnTo>
                    <a:pt x="712945" y="103982"/>
                  </a:lnTo>
                  <a:lnTo>
                    <a:pt x="760580" y="67469"/>
                  </a:lnTo>
                  <a:lnTo>
                    <a:pt x="812979" y="39688"/>
                  </a:lnTo>
                  <a:lnTo>
                    <a:pt x="867760" y="18256"/>
                  </a:lnTo>
                  <a:lnTo>
                    <a:pt x="928099" y="4763"/>
                  </a:lnTo>
                  <a:close/>
                </a:path>
              </a:pathLst>
            </a:custGeom>
            <a:solidFill>
              <a:schemeClr val="bg1"/>
            </a:solidFill>
            <a:ln w="0">
              <a:noFill/>
              <a:prstDash val="solid"/>
              <a:round/>
            </a:ln>
          </p:spPr>
          <p:txBody>
            <a:bodyPr vert="horz" wrap="square" lIns="91440" tIns="45720" rIns="91440" bIns="45720" numCol="1" anchor="t" anchorCtr="0" compatLnSpc="1">
              <a:noAutofit/>
            </a:bodyPr>
            <a:lstStyle/>
            <a:p>
              <a:endParaRPr 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4" name="Shape 2526"/>
            <p:cNvSpPr/>
            <p:nvPr/>
          </p:nvSpPr>
          <p:spPr>
            <a:xfrm>
              <a:off x="7871" y="6906"/>
              <a:ext cx="725" cy="72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bg1"/>
            </a:solidFill>
            <a:ln w="12700">
              <a:solidFill>
                <a:schemeClr val="bg1"/>
              </a:solidFill>
              <a:miter lim="400000"/>
            </a:ln>
          </p:spPr>
          <p:txBody>
            <a:bodyPr lIns="19045" tIns="19045" rIns="19045" bIns="19045" anchor="ctr"/>
            <a:lstStyle/>
            <a:p>
              <a:pPr defTabSz="2286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5" name="Shape 2645"/>
            <p:cNvSpPr/>
            <p:nvPr/>
          </p:nvSpPr>
          <p:spPr>
            <a:xfrm>
              <a:off x="10584" y="6979"/>
              <a:ext cx="873" cy="635"/>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bg1"/>
            </a:solidFill>
            <a:ln w="12700">
              <a:solidFill>
                <a:schemeClr val="bg1"/>
              </a:solidFill>
              <a:miter lim="400000"/>
            </a:ln>
          </p:spPr>
          <p:txBody>
            <a:bodyPr lIns="19045" tIns="19045" rIns="19045" bIns="19045" anchor="ctr"/>
            <a:lstStyle/>
            <a:p>
              <a:pPr defTabSz="2286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6" name="Rectangle 29"/>
            <p:cNvSpPr/>
            <p:nvPr/>
          </p:nvSpPr>
          <p:spPr>
            <a:xfrm>
              <a:off x="13191" y="4651"/>
              <a:ext cx="3980" cy="919"/>
            </a:xfrm>
            <a:prstGeom prst="rect">
              <a:avLst/>
            </a:prstGeom>
          </p:spPr>
          <p:txBody>
            <a:bodyPr wrap="square">
              <a:normAutofit/>
            </a:bodyPr>
            <a:lstStyle/>
            <a:p>
              <a:pPr lvl="0" algn="l">
                <a:lnSpc>
                  <a:spcPts val="2000"/>
                </a:lnSpc>
                <a:defRPr/>
              </a:pPr>
              <a:r>
                <a:rPr lang="vi-VN" altLang="vi-VN" sz="1200">
                  <a:solidFill>
                    <a:schemeClr val="bg1">
                      <a:lumMod val="50000"/>
                    </a:schemeClr>
                  </a:solidFill>
                  <a:latin typeface="Noto Sans"/>
                  <a:ea typeface="Noto Sans"/>
                  <a:cs typeface="+mn-ea"/>
                  <a:sym typeface="Source Han Serif SC" panose="02020700000000000000" pitchFamily="18" charset="-122"/>
                </a:rPr>
                <a:t>Thêm nội dung văn bản chi tiết vào đây, nên phù hợp với tiêu</a:t>
              </a:r>
            </a:p>
          </p:txBody>
        </p:sp>
        <p:sp>
          <p:nvSpPr>
            <p:cNvPr id="27" name="Rectangle 30"/>
            <p:cNvSpPr/>
            <p:nvPr/>
          </p:nvSpPr>
          <p:spPr>
            <a:xfrm>
              <a:off x="13564" y="4163"/>
              <a:ext cx="2162" cy="384"/>
            </a:xfrm>
            <a:prstGeom prst="rect">
              <a:avLst/>
            </a:prstGeom>
          </p:spPr>
          <p:txBody>
            <a:bodyPr wrap="square">
              <a:normAutofit lnSpcReduction="10000"/>
            </a:bodyPr>
            <a:lstStyle/>
            <a:p>
              <a:pPr marL="0" marR="0" lvl="0" indent="0" algn="l" defTabSz="914400" rtl="0" eaLnBrk="1" fontAlgn="auto" latinLnBrk="0" hangingPunct="1">
                <a:lnSpc>
                  <a:spcPct val="100000"/>
                </a:lnSpc>
                <a:spcBef>
                  <a:spcPct val="0"/>
                </a:spcBef>
                <a:spcAft>
                  <a:spcPct val="0"/>
                </a:spcAft>
                <a:buClrTx/>
                <a:buSzTx/>
                <a:buFontTx/>
                <a:buNone/>
                <a:defRPr/>
              </a:pPr>
              <a:r>
                <a:rPr lang="vi-VN" altLang="vi-VN" sz="1000" b="1"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Thêm tiêu đề</a:t>
              </a:r>
              <a:endParaRPr kumimoji="0" lang="zh-CN" altLang="en-US" b="1" i="0" u="none" strike="noStrike" kern="1200" cap="none" spc="0" normalizeH="0" baseline="0" noProof="0">
                <a:ln>
                  <a:noFill/>
                </a:ln>
                <a:solidFill>
                  <a:schemeClr val="tx1">
                    <a:lumMod val="75000"/>
                    <a:lumOff val="25000"/>
                  </a:schemeClr>
                </a:solidFill>
                <a:effectLst/>
                <a:uLnTx/>
                <a:uFillTx/>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8" name="Rectangle 29"/>
            <p:cNvSpPr/>
            <p:nvPr/>
          </p:nvSpPr>
          <p:spPr>
            <a:xfrm>
              <a:off x="9889" y="8693"/>
              <a:ext cx="3980" cy="919"/>
            </a:xfrm>
            <a:prstGeom prst="rect">
              <a:avLst/>
            </a:prstGeom>
          </p:spPr>
          <p:txBody>
            <a:bodyPr wrap="square">
              <a:normAutofit/>
            </a:bodyPr>
            <a:lstStyle/>
            <a:p>
              <a:pPr lvl="0" algn="l">
                <a:lnSpc>
                  <a:spcPts val="2000"/>
                </a:lnSpc>
                <a:defRPr/>
              </a:pPr>
              <a:r>
                <a:rPr lang="vi-VN" altLang="vi-VN" sz="1200">
                  <a:solidFill>
                    <a:schemeClr val="bg1">
                      <a:lumMod val="50000"/>
                    </a:schemeClr>
                  </a:solidFill>
                  <a:latin typeface="Noto Sans"/>
                  <a:ea typeface="Noto Sans"/>
                  <a:cs typeface="+mn-ea"/>
                  <a:sym typeface="Source Han Serif SC" panose="02020700000000000000" pitchFamily="18" charset="-122"/>
                </a:rPr>
                <a:t>Thêm nội dung văn bản chi tiết vào đây, nên phù hợp với tiêu</a:t>
              </a:r>
            </a:p>
          </p:txBody>
        </p:sp>
        <p:sp>
          <p:nvSpPr>
            <p:cNvPr id="29" name="Rectangle 30"/>
            <p:cNvSpPr/>
            <p:nvPr/>
          </p:nvSpPr>
          <p:spPr>
            <a:xfrm>
              <a:off x="10262" y="8204"/>
              <a:ext cx="2162" cy="384"/>
            </a:xfrm>
            <a:prstGeom prst="rect">
              <a:avLst/>
            </a:prstGeom>
          </p:spPr>
          <p:txBody>
            <a:bodyPr wrap="square">
              <a:normAutofit lnSpcReduction="10000"/>
            </a:bodyPr>
            <a:lstStyle/>
            <a:p>
              <a:pPr marL="0" marR="0" lvl="0" indent="0" algn="l" defTabSz="914400" rtl="0" eaLnBrk="1" fontAlgn="auto" latinLnBrk="0" hangingPunct="1">
                <a:lnSpc>
                  <a:spcPct val="100000"/>
                </a:lnSpc>
                <a:spcBef>
                  <a:spcPct val="0"/>
                </a:spcBef>
                <a:spcAft>
                  <a:spcPct val="0"/>
                </a:spcAft>
                <a:buClrTx/>
                <a:buSzTx/>
                <a:buFontTx/>
                <a:buNone/>
                <a:defRPr/>
              </a:pPr>
              <a:r>
                <a:rPr lang="vi-VN" altLang="vi-VN" sz="1000" b="1"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Thêm tiêu đề</a:t>
              </a:r>
              <a:endParaRPr kumimoji="0" lang="zh-CN" altLang="en-US" b="1" i="0" u="none" strike="noStrike" kern="1200" cap="none" spc="0" normalizeH="0" baseline="0" noProof="0">
                <a:ln>
                  <a:noFill/>
                </a:ln>
                <a:solidFill>
                  <a:schemeClr val="tx1">
                    <a:lumMod val="75000"/>
                    <a:lumOff val="25000"/>
                  </a:schemeClr>
                </a:solidFill>
                <a:effectLst/>
                <a:uLnTx/>
                <a:uFillTx/>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30" name="Rectangle 29"/>
            <p:cNvSpPr/>
            <p:nvPr/>
          </p:nvSpPr>
          <p:spPr>
            <a:xfrm>
              <a:off x="5256" y="8693"/>
              <a:ext cx="3980" cy="919"/>
            </a:xfrm>
            <a:prstGeom prst="rect">
              <a:avLst/>
            </a:prstGeom>
          </p:spPr>
          <p:txBody>
            <a:bodyPr wrap="square">
              <a:normAutofit/>
            </a:bodyPr>
            <a:lstStyle/>
            <a:p>
              <a:pPr lvl="0" algn="r">
                <a:lnSpc>
                  <a:spcPts val="2000"/>
                </a:lnSpc>
                <a:defRPr/>
              </a:pPr>
              <a:r>
                <a:rPr lang="vi-VN" altLang="vi-VN" sz="1200">
                  <a:solidFill>
                    <a:schemeClr val="bg1">
                      <a:lumMod val="50000"/>
                    </a:schemeClr>
                  </a:solidFill>
                  <a:latin typeface="Noto Sans"/>
                  <a:ea typeface="Noto Sans"/>
                  <a:cs typeface="+mn-ea"/>
                  <a:sym typeface="Source Han Serif SC" panose="02020700000000000000" pitchFamily="18" charset="-122"/>
                </a:rPr>
                <a:t>Thêm nội dung văn bản chi tiết vào đây, nên phù hợp với tiêu</a:t>
              </a:r>
            </a:p>
          </p:txBody>
        </p:sp>
        <p:sp>
          <p:nvSpPr>
            <p:cNvPr id="31" name="Rectangle 30"/>
            <p:cNvSpPr/>
            <p:nvPr/>
          </p:nvSpPr>
          <p:spPr>
            <a:xfrm>
              <a:off x="7074" y="8204"/>
              <a:ext cx="2162" cy="384"/>
            </a:xfrm>
            <a:prstGeom prst="rect">
              <a:avLst/>
            </a:prstGeom>
          </p:spPr>
          <p:txBody>
            <a:bodyPr wrap="square">
              <a:normAutofit lnSpcReduction="10000"/>
            </a:bodyPr>
            <a:lstStyle/>
            <a:p>
              <a:pPr marL="0" marR="0" lvl="0" indent="0" algn="r" defTabSz="914400" rtl="0" eaLnBrk="1" fontAlgn="auto" latinLnBrk="0" hangingPunct="1">
                <a:lnSpc>
                  <a:spcPct val="100000"/>
                </a:lnSpc>
                <a:spcBef>
                  <a:spcPct val="0"/>
                </a:spcBef>
                <a:spcAft>
                  <a:spcPct val="0"/>
                </a:spcAft>
                <a:buClrTx/>
                <a:buSzTx/>
                <a:buFontTx/>
                <a:buNone/>
                <a:defRPr/>
              </a:pPr>
              <a:r>
                <a:rPr lang="vi-VN" altLang="vi-VN" sz="1000" b="1"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Thêm tiêu đề</a:t>
              </a:r>
              <a:endParaRPr kumimoji="0" lang="zh-CN" altLang="en-US" b="1" i="0" u="none" strike="noStrike" kern="1200" cap="none" spc="0" normalizeH="0" baseline="0" noProof="0">
                <a:ln>
                  <a:noFill/>
                </a:ln>
                <a:solidFill>
                  <a:schemeClr val="tx1">
                    <a:lumMod val="75000"/>
                    <a:lumOff val="25000"/>
                  </a:schemeClr>
                </a:solidFill>
                <a:effectLst/>
                <a:uLnTx/>
                <a:uFillTx/>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32" name="Rectangle 29"/>
            <p:cNvSpPr/>
            <p:nvPr/>
          </p:nvSpPr>
          <p:spPr>
            <a:xfrm>
              <a:off x="2004" y="4651"/>
              <a:ext cx="3980" cy="919"/>
            </a:xfrm>
            <a:prstGeom prst="rect">
              <a:avLst/>
            </a:prstGeom>
          </p:spPr>
          <p:txBody>
            <a:bodyPr wrap="square">
              <a:normAutofit/>
            </a:bodyPr>
            <a:lstStyle/>
            <a:p>
              <a:pPr lvl="0" algn="r">
                <a:lnSpc>
                  <a:spcPts val="2000"/>
                </a:lnSpc>
                <a:defRPr/>
              </a:pPr>
              <a:r>
                <a:rPr lang="vi-VN" altLang="vi-VN" sz="1200">
                  <a:solidFill>
                    <a:schemeClr val="bg1">
                      <a:lumMod val="50000"/>
                    </a:schemeClr>
                  </a:solidFill>
                  <a:latin typeface="Noto Sans"/>
                  <a:ea typeface="Noto Sans"/>
                  <a:cs typeface="+mn-ea"/>
                  <a:sym typeface="Source Han Serif SC" panose="02020700000000000000" pitchFamily="18" charset="-122"/>
                </a:rPr>
                <a:t>Thêm nội dung văn bản chi tiết vào đây, nên phù hợp với tiêu</a:t>
              </a:r>
            </a:p>
          </p:txBody>
        </p:sp>
        <p:sp>
          <p:nvSpPr>
            <p:cNvPr id="33" name="Rectangle 30"/>
            <p:cNvSpPr/>
            <p:nvPr/>
          </p:nvSpPr>
          <p:spPr>
            <a:xfrm>
              <a:off x="3821" y="4163"/>
              <a:ext cx="2162" cy="384"/>
            </a:xfrm>
            <a:prstGeom prst="rect">
              <a:avLst/>
            </a:prstGeom>
          </p:spPr>
          <p:txBody>
            <a:bodyPr wrap="square">
              <a:normAutofit lnSpcReduction="10000"/>
            </a:bodyPr>
            <a:lstStyle/>
            <a:p>
              <a:pPr marL="0" marR="0" lvl="0" indent="0" algn="r" defTabSz="914400" rtl="0" eaLnBrk="1" fontAlgn="auto" latinLnBrk="0" hangingPunct="1">
                <a:lnSpc>
                  <a:spcPct val="100000"/>
                </a:lnSpc>
                <a:spcBef>
                  <a:spcPct val="0"/>
                </a:spcBef>
                <a:spcAft>
                  <a:spcPct val="0"/>
                </a:spcAft>
                <a:buClrTx/>
                <a:buSzTx/>
                <a:buFontTx/>
                <a:buNone/>
                <a:defRPr/>
              </a:pPr>
              <a:r>
                <a:rPr lang="vi-VN" altLang="vi-VN" sz="1000" b="1" noProof="0">
                  <a:ln>
                    <a:noFill/>
                  </a:ln>
                  <a:solidFill>
                    <a:schemeClr val="tx1">
                      <a:lumMod val="75000"/>
                      <a:lumOff val="25000"/>
                    </a:schemeClr>
                  </a:solidFill>
                  <a:effectLst/>
                  <a:uLnTx/>
                  <a:uFillTx/>
                  <a:latin typeface="Noto Sans"/>
                  <a:ea typeface="Noto Sans"/>
                  <a:cs typeface="+mn-ea"/>
                  <a:sym typeface="Source Han Serif SC" panose="02020700000000000000" pitchFamily="18" charset="-122"/>
                </a:rPr>
                <a:t>Thêm tiêu đề</a:t>
              </a:r>
              <a:endParaRPr kumimoji="0" lang="zh-CN" altLang="en-US" b="1" i="0" u="none" strike="noStrike" kern="1200" cap="none" spc="0" normalizeH="0" baseline="0" noProof="0">
                <a:ln>
                  <a:noFill/>
                </a:ln>
                <a:solidFill>
                  <a:schemeClr val="tx1">
                    <a:lumMod val="75000"/>
                    <a:lumOff val="25000"/>
                  </a:schemeClr>
                </a:solidFill>
                <a:effectLst/>
                <a:uLnTx/>
                <a:uFillTx/>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圆角矩形 33"/>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35" name="组合 34"/>
          <p:cNvGrpSpPr/>
          <p:nvPr/>
        </p:nvGrpSpPr>
        <p:grpSpPr>
          <a:xfrm>
            <a:off x="3845560" y="584836"/>
            <a:ext cx="4501515" cy="763138"/>
            <a:chOff x="-214879" y="1137968"/>
            <a:chExt cx="8607213" cy="763094"/>
          </a:xfrm>
        </p:grpSpPr>
        <p:sp>
          <p:nvSpPr>
            <p:cNvPr id="36" name="文本框 35"/>
            <p:cNvSpPr txBox="1"/>
            <p:nvPr/>
          </p:nvSpPr>
          <p:spPr>
            <a:xfrm>
              <a:off x="1679218" y="1137968"/>
              <a:ext cx="4817805" cy="457173"/>
            </a:xfrm>
            <a:prstGeom prst="rect">
              <a:avLst/>
            </a:prstGeom>
            <a:noFill/>
          </p:spPr>
          <p:txBody>
            <a:bodyPr wrap="square" rtlCol="0">
              <a:normAutofit lnSpcReduction="10000"/>
            </a:bodyPr>
            <a:lstStyle/>
            <a:p>
              <a:pPr algn="ctr"/>
              <a:r>
                <a:rPr lang="vi-VN" altLang="vi-VN" sz="2400">
                  <a:solidFill>
                    <a:srgbClr val="004195"/>
                  </a:solidFill>
                  <a:latin typeface="Noto Sans"/>
                  <a:ea typeface="Noto Sans"/>
                  <a:cs typeface="+mn-ea"/>
                  <a:sym typeface="Source Han Serif SC" panose="02020700000000000000" pitchFamily="18" charset="-122"/>
                </a:rPr>
                <a:t>Lập kế hoạch</a:t>
              </a:r>
            </a:p>
          </p:txBody>
        </p:sp>
        <p:sp>
          <p:nvSpPr>
            <p:cNvPr id="37" name="文本框 36"/>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sp>
        <p:nvSpPr>
          <p:cNvPr id="18" name="文本框 17"/>
          <p:cNvSpPr txBox="1"/>
          <p:nvPr/>
        </p:nvSpPr>
        <p:spPr>
          <a:xfrm>
            <a:off x="1059337" y="2207331"/>
            <a:ext cx="2647635" cy="457200"/>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a:r>
              <a:rPr lang="vi-VN" altLang="vi-VN" sz="2400">
                <a:solidFill>
                  <a:schemeClr val="tx1">
                    <a:lumMod val="65000"/>
                    <a:lumOff val="35000"/>
                  </a:schemeClr>
                </a:solidFill>
                <a:latin typeface="Noto Sans"/>
                <a:ea typeface="Noto Sans"/>
                <a:cs typeface="+mn-ea"/>
                <a:sym typeface="Source Han Serif SC" panose="02020700000000000000" pitchFamily="18" charset="-122"/>
              </a:rPr>
              <a:t>Vui lòng nhập</a:t>
            </a:r>
          </a:p>
        </p:txBody>
      </p:sp>
      <p:sp>
        <p:nvSpPr>
          <p:cNvPr id="19" name="文本框 18"/>
          <p:cNvSpPr txBox="1"/>
          <p:nvPr/>
        </p:nvSpPr>
        <p:spPr>
          <a:xfrm>
            <a:off x="1059337" y="2883914"/>
            <a:ext cx="4499634" cy="302602"/>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indent="0">
              <a:lnSpc>
                <a:spcPct val="120000"/>
              </a:lnSpc>
              <a:buClr>
                <a:schemeClr val="bg1">
                  <a:lumMod val="50000"/>
                </a:schemeClr>
              </a:buClr>
              <a:buSzTx/>
              <a:buNone/>
            </a:pPr>
            <a:r>
              <a:rPr lang="vi-VN" altLang="vi-VN" sz="120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 với</a:t>
            </a:r>
          </a:p>
        </p:txBody>
      </p:sp>
      <p:sp>
        <p:nvSpPr>
          <p:cNvPr id="20" name="文本框 19"/>
          <p:cNvSpPr txBox="1"/>
          <p:nvPr/>
        </p:nvSpPr>
        <p:spPr>
          <a:xfrm>
            <a:off x="1059337" y="3274195"/>
            <a:ext cx="4499634" cy="522058"/>
          </a:xfrm>
          <a:prstGeom prst="rect">
            <a:avLst/>
          </a:prstGeom>
          <a:noFill/>
        </p:spPr>
        <p:txBody>
          <a:bodyPr wrap="square" rtlCol="0">
            <a:normAutofit/>
          </a:bodyPr>
          <a:lstStyle/>
          <a:p>
            <a:pPr lvl="0" indent="0">
              <a:lnSpc>
                <a:spcPct val="120000"/>
              </a:lnSpc>
              <a:buClr>
                <a:schemeClr val="bg1">
                  <a:lumMod val="50000"/>
                </a:schemeClr>
              </a:buClr>
              <a:buSzTx/>
              <a:buNone/>
            </a:pPr>
            <a:r>
              <a:rPr lang="vi-VN" altLang="vi-VN" sz="120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a:t>
            </a:r>
          </a:p>
          <a:p>
            <a:pPr lvl="0" indent="0">
              <a:lnSpc>
                <a:spcPct val="120000"/>
              </a:lnSpc>
              <a:buClr>
                <a:schemeClr val="bg1">
                  <a:lumMod val="50000"/>
                </a:schemeClr>
              </a:buClr>
              <a:buSzTx/>
              <a:buNone/>
            </a:pPr>
            <a:r>
              <a:rPr lang="vi-VN" altLang="vi-VN" sz="120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a:t>
            </a:r>
            <a:endParaRPr lang="zh-CN" altLang="en-US" sz="1200">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1" name="文本框 20"/>
          <p:cNvSpPr txBox="1"/>
          <p:nvPr/>
        </p:nvSpPr>
        <p:spPr>
          <a:xfrm>
            <a:off x="1059337" y="4247718"/>
            <a:ext cx="4499634" cy="302602"/>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indent="0">
              <a:lnSpc>
                <a:spcPct val="120000"/>
              </a:lnSpc>
              <a:buClr>
                <a:schemeClr val="bg1">
                  <a:lumMod val="50000"/>
                </a:schemeClr>
              </a:buClr>
              <a:buSzTx/>
              <a:buNone/>
            </a:pPr>
            <a:r>
              <a:rPr lang="vi-VN" altLang="vi-VN" sz="120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 với</a:t>
            </a:r>
          </a:p>
        </p:txBody>
      </p:sp>
      <p:sp>
        <p:nvSpPr>
          <p:cNvPr id="22" name="文本框 21"/>
          <p:cNvSpPr txBox="1"/>
          <p:nvPr/>
        </p:nvSpPr>
        <p:spPr>
          <a:xfrm>
            <a:off x="1059337" y="4637999"/>
            <a:ext cx="4499634" cy="786473"/>
          </a:xfrm>
          <a:prstGeom prst="rect">
            <a:avLst/>
          </a:prstGeom>
          <a:noFill/>
        </p:spPr>
        <p:txBody>
          <a:bodyPr wrap="square" rtlCol="0">
            <a:normAutofit/>
          </a:bodyPr>
          <a:lstStyle/>
          <a:p>
            <a:pPr>
              <a:lnSpc>
                <a:spcPct val="120000"/>
              </a:lnSpc>
            </a:pPr>
            <a:r>
              <a:rPr lang="vi-VN" altLang="vi-VN" sz="120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a:t>
            </a:r>
          </a:p>
          <a:p>
            <a:pPr>
              <a:lnSpc>
                <a:spcPct val="120000"/>
              </a:lnSpc>
            </a:pPr>
            <a:r>
              <a:rPr lang="vi-VN" altLang="vi-VN" sz="1200">
                <a:solidFill>
                  <a:schemeClr val="tx1">
                    <a:lumMod val="65000"/>
                    <a:lumOff val="35000"/>
                  </a:schemeClr>
                </a:solidFill>
                <a:latin typeface="Noto Sans"/>
                <a:ea typeface="Noto Sans"/>
                <a:cs typeface="+mn-ea"/>
                <a:sym typeface="Source Han Serif SC" panose="02020700000000000000" pitchFamily="18" charset="-122"/>
              </a:rPr>
              <a:t>Thêm nội dung văn bản chi tiết vào đây, nên phù hợp</a:t>
            </a:r>
          </a:p>
          <a:p>
            <a:pPr>
              <a:lnSpc>
                <a:spcPct val="150000"/>
              </a:lnSpc>
            </a:pPr>
            <a:endParaRPr lang="zh-CN" altLang="en-US" sz="1200">
              <a:solidFill>
                <a:schemeClr val="tx1">
                  <a:lumMod val="65000"/>
                  <a:lumOff val="35000"/>
                </a:schemeClr>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pic>
        <p:nvPicPr>
          <p:cNvPr id="6" name="图片 5" descr="IMG_0166"/>
          <p:cNvPicPr>
            <a:picLocks noChangeAspect="1"/>
          </p:cNvPicPr>
          <p:nvPr/>
        </p:nvPicPr>
        <p:blipFill>
          <a:blip r:embed="rId3"/>
          <a:stretch>
            <a:fillRect/>
          </a:stretch>
        </p:blipFill>
        <p:spPr>
          <a:xfrm>
            <a:off x="6337300" y="2207260"/>
            <a:ext cx="4399280" cy="293306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15"/>
          <a:stretch>
            <a:fillRect t="-3000" b="-3000"/>
          </a:stretch>
        </a:blipFill>
        <a:effectLst/>
      </p:bgPr>
    </p:bg>
    <p:spTree>
      <p:nvGrpSpPr>
        <p:cNvPr id="1" name=""/>
        <p:cNvGrpSpPr/>
        <p:nvPr/>
      </p:nvGrpSpPr>
      <p:grpSpPr>
        <a:xfrm>
          <a:off x="0" y="0"/>
          <a:ext cx="0" cy="0"/>
          <a:chOff x="0" y="0"/>
          <a:chExt cx="0" cy="0"/>
        </a:xfrm>
      </p:grpSpPr>
      <p:sp>
        <p:nvSpPr>
          <p:cNvPr id="6" name="圆角矩形 5"/>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37" name="组合 36"/>
          <p:cNvGrpSpPr/>
          <p:nvPr/>
        </p:nvGrpSpPr>
        <p:grpSpPr>
          <a:xfrm>
            <a:off x="3845560" y="584836"/>
            <a:ext cx="4501515" cy="763138"/>
            <a:chOff x="-214879" y="1137968"/>
            <a:chExt cx="8607213" cy="763094"/>
          </a:xfrm>
        </p:grpSpPr>
        <p:sp>
          <p:nvSpPr>
            <p:cNvPr id="38" name="文本框 37"/>
            <p:cNvSpPr txBox="1"/>
            <p:nvPr/>
          </p:nvSpPr>
          <p:spPr>
            <a:xfrm>
              <a:off x="1679218" y="1137968"/>
              <a:ext cx="4817805" cy="457173"/>
            </a:xfrm>
            <a:prstGeom prst="rect">
              <a:avLst/>
            </a:prstGeom>
            <a:noFill/>
          </p:spPr>
          <p:txBody>
            <a:bodyPr wrap="square" rtlCol="0">
              <a:normAutofit lnSpcReduction="10000"/>
            </a:bodyPr>
            <a:lstStyle/>
            <a:p>
              <a:pPr algn="ctr"/>
              <a:r>
                <a:rPr lang="vi-VN" altLang="vi-VN" sz="2400">
                  <a:solidFill>
                    <a:srgbClr val="004195"/>
                  </a:solidFill>
                  <a:latin typeface="Noto Sans"/>
                  <a:ea typeface="Noto Sans"/>
                  <a:cs typeface="+mn-ea"/>
                  <a:sym typeface="Source Han Serif SC" panose="02020700000000000000" pitchFamily="18" charset="-122"/>
                </a:rPr>
                <a:t>Lập kế hoạch</a:t>
              </a:r>
            </a:p>
          </p:txBody>
        </p:sp>
        <p:sp>
          <p:nvSpPr>
            <p:cNvPr id="39" name="文本框 38"/>
            <p:cNvSpPr txBox="1"/>
            <p:nvPr/>
          </p:nvSpPr>
          <p:spPr>
            <a:xfrm>
              <a:off x="-214879" y="1598317"/>
              <a:ext cx="8607213" cy="302744"/>
            </a:xfrm>
            <a:prstGeom prst="rect">
              <a:avLst/>
            </a:prstGeom>
            <a:noFill/>
          </p:spPr>
          <p:txBody>
            <a:bodyPr wrap="square">
              <a:normAutofit/>
            </a:bodyPr>
            <a:lstStyle/>
            <a:p>
              <a:pPr algn="ctr">
                <a:lnSpc>
                  <a:spcPct val="120000"/>
                </a:lnSpc>
              </a:pPr>
              <a:r>
                <a:rPr lang="vi-VN" altLang="vi-VN" sz="1000">
                  <a:solidFill>
                    <a:schemeClr val="bg1">
                      <a:lumMod val="50000"/>
                    </a:schemeClr>
                  </a:solidFill>
                  <a:latin typeface="Noto Sans"/>
                  <a:ea typeface="Noto Sans"/>
                  <a:cs typeface="+mn-ea"/>
                  <a:sym typeface="Source Han Serif SC" panose="02020700000000000000" pitchFamily="18" charset="-122"/>
                </a:rPr>
                <a:t>Ở đây bạn có thể mô tả chủ đề của phần</a:t>
              </a:r>
            </a:p>
          </p:txBody>
        </p:sp>
      </p:grpSp>
      <p:sp>
        <p:nvSpPr>
          <p:cNvPr id="10" name="PA_椭圆 27"/>
          <p:cNvSpPr>
            <a:spLocks noChangeArrowheads="1"/>
          </p:cNvSpPr>
          <p:nvPr>
            <p:custDataLst>
              <p:tags r:id="rId1"/>
            </p:custDataLst>
          </p:nvPr>
        </p:nvSpPr>
        <p:spPr bwMode="auto">
          <a:xfrm>
            <a:off x="5691717" y="1694027"/>
            <a:ext cx="787400" cy="783408"/>
          </a:xfrm>
          <a:prstGeom prst="ellipse">
            <a:avLst/>
          </a:prstGeom>
          <a:solidFill>
            <a:srgbClr val="0067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35">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1" name="PA_椭圆 28"/>
          <p:cNvSpPr>
            <a:spLocks noChangeArrowheads="1"/>
          </p:cNvSpPr>
          <p:nvPr>
            <p:custDataLst>
              <p:tags r:id="rId2"/>
            </p:custDataLst>
          </p:nvPr>
        </p:nvSpPr>
        <p:spPr bwMode="auto">
          <a:xfrm>
            <a:off x="5691717" y="2875493"/>
            <a:ext cx="787400" cy="785527"/>
          </a:xfrm>
          <a:prstGeom prst="ellipse">
            <a:avLst/>
          </a:prstGeom>
          <a:solidFill>
            <a:srgbClr val="0041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35">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2" name="PA_椭圆 29"/>
          <p:cNvSpPr>
            <a:spLocks noChangeArrowheads="1"/>
          </p:cNvSpPr>
          <p:nvPr>
            <p:custDataLst>
              <p:tags r:id="rId3"/>
            </p:custDataLst>
          </p:nvPr>
        </p:nvSpPr>
        <p:spPr bwMode="auto">
          <a:xfrm>
            <a:off x="5691717" y="4059073"/>
            <a:ext cx="787400" cy="785525"/>
          </a:xfrm>
          <a:prstGeom prst="ellipse">
            <a:avLst/>
          </a:prstGeom>
          <a:solidFill>
            <a:srgbClr val="0067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35">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3" name="PA_椭圆 30"/>
          <p:cNvSpPr>
            <a:spLocks noChangeArrowheads="1"/>
          </p:cNvSpPr>
          <p:nvPr>
            <p:custDataLst>
              <p:tags r:id="rId4"/>
            </p:custDataLst>
          </p:nvPr>
        </p:nvSpPr>
        <p:spPr bwMode="auto">
          <a:xfrm>
            <a:off x="5691717" y="5242656"/>
            <a:ext cx="787400" cy="785527"/>
          </a:xfrm>
          <a:prstGeom prst="ellipse">
            <a:avLst/>
          </a:prstGeom>
          <a:solidFill>
            <a:srgbClr val="0041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35">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4" name="PA_任意多边形 31"/>
          <p:cNvSpPr/>
          <p:nvPr>
            <p:custDataLst>
              <p:tags r:id="rId5"/>
            </p:custDataLst>
          </p:nvPr>
        </p:nvSpPr>
        <p:spPr bwMode="auto">
          <a:xfrm>
            <a:off x="5410203" y="1412424"/>
            <a:ext cx="1350433" cy="4897360"/>
          </a:xfrm>
          <a:custGeom>
            <a:avLst/>
            <a:gdLst>
              <a:gd name="T0" fmla="*/ 416 w 833"/>
              <a:gd name="T1" fmla="*/ 2194 h 3027"/>
              <a:gd name="T2" fmla="*/ 416 w 833"/>
              <a:gd name="T3" fmla="*/ 2194 h 3027"/>
              <a:gd name="T4" fmla="*/ 102 w 833"/>
              <a:gd name="T5" fmla="*/ 1879 h 3027"/>
              <a:gd name="T6" fmla="*/ 416 w 833"/>
              <a:gd name="T7" fmla="*/ 1564 h 3027"/>
              <a:gd name="T8" fmla="*/ 416 w 833"/>
              <a:gd name="T9" fmla="*/ 1564 h 3027"/>
              <a:gd name="T10" fmla="*/ 833 w 833"/>
              <a:gd name="T11" fmla="*/ 1148 h 3027"/>
              <a:gd name="T12" fmla="*/ 416 w 833"/>
              <a:gd name="T13" fmla="*/ 731 h 3027"/>
              <a:gd name="T14" fmla="*/ 416 w 833"/>
              <a:gd name="T15" fmla="*/ 731 h 3027"/>
              <a:gd name="T16" fmla="*/ 102 w 833"/>
              <a:gd name="T17" fmla="*/ 416 h 3027"/>
              <a:gd name="T18" fmla="*/ 416 w 833"/>
              <a:gd name="T19" fmla="*/ 102 h 3027"/>
              <a:gd name="T20" fmla="*/ 416 w 833"/>
              <a:gd name="T21" fmla="*/ 0 h 3027"/>
              <a:gd name="T22" fmla="*/ 0 w 833"/>
              <a:gd name="T23" fmla="*/ 416 h 3027"/>
              <a:gd name="T24" fmla="*/ 416 w 833"/>
              <a:gd name="T25" fmla="*/ 833 h 3027"/>
              <a:gd name="T26" fmla="*/ 416 w 833"/>
              <a:gd name="T27" fmla="*/ 833 h 3027"/>
              <a:gd name="T28" fmla="*/ 731 w 833"/>
              <a:gd name="T29" fmla="*/ 1148 h 3027"/>
              <a:gd name="T30" fmla="*/ 416 w 833"/>
              <a:gd name="T31" fmla="*/ 1462 h 3027"/>
              <a:gd name="T32" fmla="*/ 416 w 833"/>
              <a:gd name="T33" fmla="*/ 1462 h 3027"/>
              <a:gd name="T34" fmla="*/ 0 w 833"/>
              <a:gd name="T35" fmla="*/ 1879 h 3027"/>
              <a:gd name="T36" fmla="*/ 416 w 833"/>
              <a:gd name="T37" fmla="*/ 2296 h 3027"/>
              <a:gd name="T38" fmla="*/ 416 w 833"/>
              <a:gd name="T39" fmla="*/ 2296 h 3027"/>
              <a:gd name="T40" fmla="*/ 731 w 833"/>
              <a:gd name="T41" fmla="*/ 2610 h 3027"/>
              <a:gd name="T42" fmla="*/ 416 w 833"/>
              <a:gd name="T43" fmla="*/ 2925 h 3027"/>
              <a:gd name="T44" fmla="*/ 416 w 833"/>
              <a:gd name="T45" fmla="*/ 3027 h 3027"/>
              <a:gd name="T46" fmla="*/ 833 w 833"/>
              <a:gd name="T47" fmla="*/ 2610 h 3027"/>
              <a:gd name="T48" fmla="*/ 416 w 833"/>
              <a:gd name="T49" fmla="*/ 2194 h 3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3" h="3027">
                <a:moveTo>
                  <a:pt x="416" y="2194"/>
                </a:moveTo>
                <a:cubicBezTo>
                  <a:pt x="416" y="2194"/>
                  <a:pt x="416" y="2194"/>
                  <a:pt x="416" y="2194"/>
                </a:cubicBezTo>
                <a:cubicBezTo>
                  <a:pt x="243" y="2194"/>
                  <a:pt x="102" y="2053"/>
                  <a:pt x="102" y="1879"/>
                </a:cubicBezTo>
                <a:cubicBezTo>
                  <a:pt x="102" y="1705"/>
                  <a:pt x="243" y="1564"/>
                  <a:pt x="416" y="1564"/>
                </a:cubicBezTo>
                <a:cubicBezTo>
                  <a:pt x="416" y="1564"/>
                  <a:pt x="416" y="1564"/>
                  <a:pt x="416" y="1564"/>
                </a:cubicBezTo>
                <a:cubicBezTo>
                  <a:pt x="647" y="1564"/>
                  <a:pt x="833" y="1378"/>
                  <a:pt x="833" y="1148"/>
                </a:cubicBezTo>
                <a:cubicBezTo>
                  <a:pt x="833" y="918"/>
                  <a:pt x="647" y="731"/>
                  <a:pt x="416" y="731"/>
                </a:cubicBezTo>
                <a:cubicBezTo>
                  <a:pt x="416" y="731"/>
                  <a:pt x="416" y="731"/>
                  <a:pt x="416" y="731"/>
                </a:cubicBezTo>
                <a:cubicBezTo>
                  <a:pt x="243" y="731"/>
                  <a:pt x="102" y="590"/>
                  <a:pt x="102" y="416"/>
                </a:cubicBezTo>
                <a:cubicBezTo>
                  <a:pt x="102" y="243"/>
                  <a:pt x="243" y="102"/>
                  <a:pt x="416" y="102"/>
                </a:cubicBezTo>
                <a:cubicBezTo>
                  <a:pt x="416" y="0"/>
                  <a:pt x="416" y="0"/>
                  <a:pt x="416" y="0"/>
                </a:cubicBezTo>
                <a:cubicBezTo>
                  <a:pt x="186" y="0"/>
                  <a:pt x="0" y="186"/>
                  <a:pt x="0" y="416"/>
                </a:cubicBezTo>
                <a:cubicBezTo>
                  <a:pt x="0" y="646"/>
                  <a:pt x="186" y="833"/>
                  <a:pt x="416" y="833"/>
                </a:cubicBezTo>
                <a:cubicBezTo>
                  <a:pt x="416" y="833"/>
                  <a:pt x="416" y="833"/>
                  <a:pt x="416" y="833"/>
                </a:cubicBezTo>
                <a:cubicBezTo>
                  <a:pt x="590" y="833"/>
                  <a:pt x="731" y="974"/>
                  <a:pt x="731" y="1148"/>
                </a:cubicBezTo>
                <a:cubicBezTo>
                  <a:pt x="731" y="1321"/>
                  <a:pt x="590" y="1462"/>
                  <a:pt x="416" y="1462"/>
                </a:cubicBezTo>
                <a:cubicBezTo>
                  <a:pt x="416" y="1462"/>
                  <a:pt x="416" y="1462"/>
                  <a:pt x="416" y="1462"/>
                </a:cubicBezTo>
                <a:cubicBezTo>
                  <a:pt x="186" y="1462"/>
                  <a:pt x="0" y="1649"/>
                  <a:pt x="0" y="1879"/>
                </a:cubicBezTo>
                <a:cubicBezTo>
                  <a:pt x="0" y="2109"/>
                  <a:pt x="186" y="2296"/>
                  <a:pt x="416" y="2296"/>
                </a:cubicBezTo>
                <a:cubicBezTo>
                  <a:pt x="416" y="2296"/>
                  <a:pt x="416" y="2296"/>
                  <a:pt x="416" y="2296"/>
                </a:cubicBezTo>
                <a:cubicBezTo>
                  <a:pt x="590" y="2296"/>
                  <a:pt x="731" y="2437"/>
                  <a:pt x="731" y="2610"/>
                </a:cubicBezTo>
                <a:cubicBezTo>
                  <a:pt x="731" y="2784"/>
                  <a:pt x="590" y="2925"/>
                  <a:pt x="416" y="2925"/>
                </a:cubicBezTo>
                <a:cubicBezTo>
                  <a:pt x="416" y="3027"/>
                  <a:pt x="416" y="3027"/>
                  <a:pt x="416" y="3027"/>
                </a:cubicBezTo>
                <a:cubicBezTo>
                  <a:pt x="647" y="3027"/>
                  <a:pt x="833" y="2841"/>
                  <a:pt x="833" y="2610"/>
                </a:cubicBezTo>
                <a:cubicBezTo>
                  <a:pt x="833" y="2380"/>
                  <a:pt x="647" y="2194"/>
                  <a:pt x="416" y="2194"/>
                </a:cubicBezTo>
                <a:close/>
              </a:path>
            </a:pathLst>
          </a:custGeom>
          <a:solidFill>
            <a:srgbClr val="004195">
              <a:alpha val="62000"/>
            </a:srgbClr>
          </a:solidFill>
          <a:ln>
            <a:noFill/>
          </a:ln>
          <a:effectLst/>
        </p:spPr>
        <p:txBody>
          <a:bodyPr/>
          <a:lstStyle/>
          <a:p>
            <a:endParaRPr lang="zh-CN" altLang="en-US" sz="24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5" name="PA_任意多边形 32"/>
          <p:cNvSpPr/>
          <p:nvPr>
            <p:custDataLst>
              <p:tags r:id="rId6"/>
            </p:custDataLst>
          </p:nvPr>
        </p:nvSpPr>
        <p:spPr bwMode="auto">
          <a:xfrm>
            <a:off x="6625169" y="1823185"/>
            <a:ext cx="359833" cy="531447"/>
          </a:xfrm>
          <a:custGeom>
            <a:avLst/>
            <a:gdLst>
              <a:gd name="T0" fmla="*/ 0 w 170"/>
              <a:gd name="T1" fmla="*/ 0 h 251"/>
              <a:gd name="T2" fmla="*/ 92 w 170"/>
              <a:gd name="T3" fmla="*/ 126 h 251"/>
              <a:gd name="T4" fmla="*/ 0 w 170"/>
              <a:gd name="T5" fmla="*/ 251 h 251"/>
              <a:gd name="T6" fmla="*/ 79 w 170"/>
              <a:gd name="T7" fmla="*/ 251 h 251"/>
              <a:gd name="T8" fmla="*/ 170 w 170"/>
              <a:gd name="T9" fmla="*/ 126 h 251"/>
              <a:gd name="T10" fmla="*/ 79 w 170"/>
              <a:gd name="T11" fmla="*/ 0 h 251"/>
              <a:gd name="T12" fmla="*/ 0 w 170"/>
              <a:gd name="T13" fmla="*/ 0 h 251"/>
            </a:gdLst>
            <a:ahLst/>
            <a:cxnLst>
              <a:cxn ang="0">
                <a:pos x="T0" y="T1"/>
              </a:cxn>
              <a:cxn ang="0">
                <a:pos x="T2" y="T3"/>
              </a:cxn>
              <a:cxn ang="0">
                <a:pos x="T4" y="T5"/>
              </a:cxn>
              <a:cxn ang="0">
                <a:pos x="T6" y="T7"/>
              </a:cxn>
              <a:cxn ang="0">
                <a:pos x="T8" y="T9"/>
              </a:cxn>
              <a:cxn ang="0">
                <a:pos x="T10" y="T11"/>
              </a:cxn>
              <a:cxn ang="0">
                <a:pos x="T12" y="T13"/>
              </a:cxn>
            </a:cxnLst>
            <a:rect l="0" t="0" r="r" b="b"/>
            <a:pathLst>
              <a:path w="170" h="251">
                <a:moveTo>
                  <a:pt x="0" y="0"/>
                </a:moveTo>
                <a:lnTo>
                  <a:pt x="92" y="126"/>
                </a:lnTo>
                <a:lnTo>
                  <a:pt x="0" y="251"/>
                </a:lnTo>
                <a:lnTo>
                  <a:pt x="79" y="251"/>
                </a:lnTo>
                <a:lnTo>
                  <a:pt x="170" y="126"/>
                </a:lnTo>
                <a:lnTo>
                  <a:pt x="79" y="0"/>
                </a:lnTo>
                <a:lnTo>
                  <a:pt x="0" y="0"/>
                </a:lnTo>
                <a:close/>
              </a:path>
            </a:pathLst>
          </a:custGeom>
          <a:solidFill>
            <a:srgbClr val="0067CC"/>
          </a:solidFill>
          <a:ln>
            <a:noFill/>
          </a:ln>
        </p:spPr>
        <p:txBody>
          <a:bodyPr/>
          <a:lstStyle/>
          <a:p>
            <a:endParaRPr lang="zh-CN" altLang="en-US" sz="24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6" name="PA_任意多边形 33"/>
          <p:cNvSpPr/>
          <p:nvPr>
            <p:custDataLst>
              <p:tags r:id="rId7"/>
            </p:custDataLst>
          </p:nvPr>
        </p:nvSpPr>
        <p:spPr bwMode="auto">
          <a:xfrm>
            <a:off x="5209119" y="3002531"/>
            <a:ext cx="357716" cy="531448"/>
          </a:xfrm>
          <a:custGeom>
            <a:avLst/>
            <a:gdLst>
              <a:gd name="T0" fmla="*/ 169 w 169"/>
              <a:gd name="T1" fmla="*/ 251 h 251"/>
              <a:gd name="T2" fmla="*/ 78 w 169"/>
              <a:gd name="T3" fmla="*/ 126 h 251"/>
              <a:gd name="T4" fmla="*/ 169 w 169"/>
              <a:gd name="T5" fmla="*/ 0 h 251"/>
              <a:gd name="T6" fmla="*/ 91 w 169"/>
              <a:gd name="T7" fmla="*/ 0 h 251"/>
              <a:gd name="T8" fmla="*/ 0 w 169"/>
              <a:gd name="T9" fmla="*/ 126 h 251"/>
              <a:gd name="T10" fmla="*/ 91 w 169"/>
              <a:gd name="T11" fmla="*/ 251 h 251"/>
              <a:gd name="T12" fmla="*/ 169 w 169"/>
              <a:gd name="T13" fmla="*/ 251 h 251"/>
            </a:gdLst>
            <a:ahLst/>
            <a:cxnLst>
              <a:cxn ang="0">
                <a:pos x="T0" y="T1"/>
              </a:cxn>
              <a:cxn ang="0">
                <a:pos x="T2" y="T3"/>
              </a:cxn>
              <a:cxn ang="0">
                <a:pos x="T4" y="T5"/>
              </a:cxn>
              <a:cxn ang="0">
                <a:pos x="T6" y="T7"/>
              </a:cxn>
              <a:cxn ang="0">
                <a:pos x="T8" y="T9"/>
              </a:cxn>
              <a:cxn ang="0">
                <a:pos x="T10" y="T11"/>
              </a:cxn>
              <a:cxn ang="0">
                <a:pos x="T12" y="T13"/>
              </a:cxn>
            </a:cxnLst>
            <a:rect l="0" t="0" r="r" b="b"/>
            <a:pathLst>
              <a:path w="169" h="251">
                <a:moveTo>
                  <a:pt x="169" y="251"/>
                </a:moveTo>
                <a:lnTo>
                  <a:pt x="78" y="126"/>
                </a:lnTo>
                <a:lnTo>
                  <a:pt x="169" y="0"/>
                </a:lnTo>
                <a:lnTo>
                  <a:pt x="91" y="0"/>
                </a:lnTo>
                <a:lnTo>
                  <a:pt x="0" y="126"/>
                </a:lnTo>
                <a:lnTo>
                  <a:pt x="91" y="251"/>
                </a:lnTo>
                <a:lnTo>
                  <a:pt x="169" y="251"/>
                </a:lnTo>
                <a:close/>
              </a:path>
            </a:pathLst>
          </a:custGeom>
          <a:solidFill>
            <a:srgbClr val="004195"/>
          </a:solidFill>
          <a:ln>
            <a:noFill/>
          </a:ln>
        </p:spPr>
        <p:txBody>
          <a:bodyPr/>
          <a:lstStyle/>
          <a:p>
            <a:endParaRPr lang="zh-CN" altLang="en-US" sz="24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7" name="PA_任意多边形 34"/>
          <p:cNvSpPr/>
          <p:nvPr>
            <p:custDataLst>
              <p:tags r:id="rId8"/>
            </p:custDataLst>
          </p:nvPr>
        </p:nvSpPr>
        <p:spPr bwMode="auto">
          <a:xfrm>
            <a:off x="5209119" y="5369695"/>
            <a:ext cx="357716" cy="531448"/>
          </a:xfrm>
          <a:custGeom>
            <a:avLst/>
            <a:gdLst>
              <a:gd name="T0" fmla="*/ 169 w 169"/>
              <a:gd name="T1" fmla="*/ 251 h 251"/>
              <a:gd name="T2" fmla="*/ 78 w 169"/>
              <a:gd name="T3" fmla="*/ 125 h 251"/>
              <a:gd name="T4" fmla="*/ 169 w 169"/>
              <a:gd name="T5" fmla="*/ 0 h 251"/>
              <a:gd name="T6" fmla="*/ 91 w 169"/>
              <a:gd name="T7" fmla="*/ 0 h 251"/>
              <a:gd name="T8" fmla="*/ 0 w 169"/>
              <a:gd name="T9" fmla="*/ 125 h 251"/>
              <a:gd name="T10" fmla="*/ 91 w 169"/>
              <a:gd name="T11" fmla="*/ 251 h 251"/>
              <a:gd name="T12" fmla="*/ 169 w 169"/>
              <a:gd name="T13" fmla="*/ 251 h 251"/>
            </a:gdLst>
            <a:ahLst/>
            <a:cxnLst>
              <a:cxn ang="0">
                <a:pos x="T0" y="T1"/>
              </a:cxn>
              <a:cxn ang="0">
                <a:pos x="T2" y="T3"/>
              </a:cxn>
              <a:cxn ang="0">
                <a:pos x="T4" y="T5"/>
              </a:cxn>
              <a:cxn ang="0">
                <a:pos x="T6" y="T7"/>
              </a:cxn>
              <a:cxn ang="0">
                <a:pos x="T8" y="T9"/>
              </a:cxn>
              <a:cxn ang="0">
                <a:pos x="T10" y="T11"/>
              </a:cxn>
              <a:cxn ang="0">
                <a:pos x="T12" y="T13"/>
              </a:cxn>
            </a:cxnLst>
            <a:rect l="0" t="0" r="r" b="b"/>
            <a:pathLst>
              <a:path w="169" h="251">
                <a:moveTo>
                  <a:pt x="169" y="251"/>
                </a:moveTo>
                <a:lnTo>
                  <a:pt x="78" y="125"/>
                </a:lnTo>
                <a:lnTo>
                  <a:pt x="169" y="0"/>
                </a:lnTo>
                <a:lnTo>
                  <a:pt x="91" y="0"/>
                </a:lnTo>
                <a:lnTo>
                  <a:pt x="0" y="125"/>
                </a:lnTo>
                <a:lnTo>
                  <a:pt x="91" y="251"/>
                </a:lnTo>
                <a:lnTo>
                  <a:pt x="169" y="251"/>
                </a:lnTo>
                <a:close/>
              </a:path>
            </a:pathLst>
          </a:custGeom>
          <a:solidFill>
            <a:srgbClr val="004195"/>
          </a:solidFill>
          <a:ln>
            <a:noFill/>
          </a:ln>
        </p:spPr>
        <p:txBody>
          <a:bodyPr/>
          <a:lstStyle/>
          <a:p>
            <a:endParaRPr lang="zh-CN" altLang="en-US" sz="24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8" name="PA_任意多边形 35"/>
          <p:cNvSpPr/>
          <p:nvPr>
            <p:custDataLst>
              <p:tags r:id="rId9"/>
            </p:custDataLst>
          </p:nvPr>
        </p:nvSpPr>
        <p:spPr bwMode="auto">
          <a:xfrm>
            <a:off x="6625169" y="4186113"/>
            <a:ext cx="359833" cy="531447"/>
          </a:xfrm>
          <a:custGeom>
            <a:avLst/>
            <a:gdLst>
              <a:gd name="T0" fmla="*/ 0 w 170"/>
              <a:gd name="T1" fmla="*/ 0 h 251"/>
              <a:gd name="T2" fmla="*/ 92 w 170"/>
              <a:gd name="T3" fmla="*/ 126 h 251"/>
              <a:gd name="T4" fmla="*/ 0 w 170"/>
              <a:gd name="T5" fmla="*/ 251 h 251"/>
              <a:gd name="T6" fmla="*/ 79 w 170"/>
              <a:gd name="T7" fmla="*/ 251 h 251"/>
              <a:gd name="T8" fmla="*/ 170 w 170"/>
              <a:gd name="T9" fmla="*/ 126 h 251"/>
              <a:gd name="T10" fmla="*/ 79 w 170"/>
              <a:gd name="T11" fmla="*/ 0 h 251"/>
              <a:gd name="T12" fmla="*/ 0 w 170"/>
              <a:gd name="T13" fmla="*/ 0 h 251"/>
            </a:gdLst>
            <a:ahLst/>
            <a:cxnLst>
              <a:cxn ang="0">
                <a:pos x="T0" y="T1"/>
              </a:cxn>
              <a:cxn ang="0">
                <a:pos x="T2" y="T3"/>
              </a:cxn>
              <a:cxn ang="0">
                <a:pos x="T4" y="T5"/>
              </a:cxn>
              <a:cxn ang="0">
                <a:pos x="T6" y="T7"/>
              </a:cxn>
              <a:cxn ang="0">
                <a:pos x="T8" y="T9"/>
              </a:cxn>
              <a:cxn ang="0">
                <a:pos x="T10" y="T11"/>
              </a:cxn>
              <a:cxn ang="0">
                <a:pos x="T12" y="T13"/>
              </a:cxn>
            </a:cxnLst>
            <a:rect l="0" t="0" r="r" b="b"/>
            <a:pathLst>
              <a:path w="170" h="251">
                <a:moveTo>
                  <a:pt x="0" y="0"/>
                </a:moveTo>
                <a:lnTo>
                  <a:pt x="92" y="126"/>
                </a:lnTo>
                <a:lnTo>
                  <a:pt x="0" y="251"/>
                </a:lnTo>
                <a:lnTo>
                  <a:pt x="79" y="251"/>
                </a:lnTo>
                <a:lnTo>
                  <a:pt x="170" y="126"/>
                </a:lnTo>
                <a:lnTo>
                  <a:pt x="79" y="0"/>
                </a:lnTo>
                <a:lnTo>
                  <a:pt x="0" y="0"/>
                </a:lnTo>
                <a:close/>
              </a:path>
            </a:pathLst>
          </a:custGeom>
          <a:solidFill>
            <a:srgbClr val="0067CC"/>
          </a:solidFill>
          <a:ln>
            <a:noFill/>
          </a:ln>
        </p:spPr>
        <p:txBody>
          <a:bodyPr/>
          <a:lstStyle/>
          <a:p>
            <a:endParaRPr lang="zh-CN" altLang="en-US" sz="24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grpSp>
        <p:nvGrpSpPr>
          <p:cNvPr id="19" name="组合 18"/>
          <p:cNvGrpSpPr/>
          <p:nvPr/>
        </p:nvGrpSpPr>
        <p:grpSpPr>
          <a:xfrm>
            <a:off x="7268767" y="1543554"/>
            <a:ext cx="4224469" cy="933035"/>
            <a:chOff x="980156" y="1247429"/>
            <a:chExt cx="3168352" cy="699776"/>
          </a:xfrm>
        </p:grpSpPr>
        <p:sp>
          <p:nvSpPr>
            <p:cNvPr id="20" name="3"/>
            <p:cNvSpPr>
              <a:spLocks noChangeArrowheads="1"/>
            </p:cNvSpPr>
            <p:nvPr>
              <p:custDataLst>
                <p:tags r:id="rId13"/>
              </p:custDataLst>
            </p:nvPr>
          </p:nvSpPr>
          <p:spPr bwMode="auto">
            <a:xfrm>
              <a:off x="1043608" y="1247429"/>
              <a:ext cx="2520902" cy="25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rmAutofit/>
            </a:bodyPr>
            <a:lstStyle/>
            <a:p>
              <a:r>
                <a:rPr lang="vi-VN" altLang="vi-VN" sz="2200">
                  <a:solidFill>
                    <a:schemeClr val="tx1">
                      <a:lumMod val="65000"/>
                      <a:lumOff val="35000"/>
                    </a:schemeClr>
                  </a:solidFill>
                  <a:latin typeface="Noto Sans"/>
                  <a:ea typeface="Noto Sans"/>
                  <a:cs typeface="+mn-ea"/>
                  <a:sym typeface="Source Han Serif SC" panose="02020700000000000000" pitchFamily="18" charset="-122"/>
                </a:rPr>
                <a:t>Bấm để thêm</a:t>
              </a:r>
            </a:p>
          </p:txBody>
        </p:sp>
        <p:sp>
          <p:nvSpPr>
            <p:cNvPr id="21" name="矩形 20"/>
            <p:cNvSpPr/>
            <p:nvPr/>
          </p:nvSpPr>
          <p:spPr>
            <a:xfrm>
              <a:off x="980156" y="1562621"/>
              <a:ext cx="3168352" cy="384584"/>
            </a:xfrm>
            <a:prstGeom prst="rect">
              <a:avLst/>
            </a:prstGeom>
          </p:spPr>
          <p:txBody>
            <a:bodyPr wrap="square">
              <a:normAutofit/>
            </a:bodyPr>
            <a:lstStyle/>
            <a:p>
              <a:pPr>
                <a:lnSpc>
                  <a:spcPct val="104000"/>
                </a:lnSpc>
              </a:pPr>
              <a:r>
                <a:rPr lang="vi-VN" altLang="vi-VN" sz="1335">
                  <a:solidFill>
                    <a:schemeClr val="tx1">
                      <a:lumMod val="65000"/>
                      <a:lumOff val="35000"/>
                    </a:schemeClr>
                  </a:solidFill>
                  <a:latin typeface="Noto Sans"/>
                  <a:ea typeface="Noto Sans"/>
                  <a:cs typeface="+mn-ea"/>
                  <a:sym typeface="Source Han Serif SC" panose="02020700000000000000" pitchFamily="18" charset="-122"/>
                </a:rPr>
                <a:t>Vui lòng thêm mô tả văn bản và mẫu ở đây. Vui lòng thêm mô tả văn bản và mẫu ở đây. Vui lòng</a:t>
              </a:r>
            </a:p>
          </p:txBody>
        </p:sp>
      </p:grpSp>
      <p:grpSp>
        <p:nvGrpSpPr>
          <p:cNvPr id="22" name="组合 21"/>
          <p:cNvGrpSpPr/>
          <p:nvPr/>
        </p:nvGrpSpPr>
        <p:grpSpPr>
          <a:xfrm>
            <a:off x="7203021" y="3988878"/>
            <a:ext cx="4224469" cy="933035"/>
            <a:chOff x="980157" y="1247429"/>
            <a:chExt cx="3168352" cy="699776"/>
          </a:xfrm>
        </p:grpSpPr>
        <p:sp>
          <p:nvSpPr>
            <p:cNvPr id="23" name="2"/>
            <p:cNvSpPr>
              <a:spLocks noChangeArrowheads="1"/>
            </p:cNvSpPr>
            <p:nvPr>
              <p:custDataLst>
                <p:tags r:id="rId12"/>
              </p:custDataLst>
            </p:nvPr>
          </p:nvSpPr>
          <p:spPr bwMode="auto">
            <a:xfrm>
              <a:off x="1043608" y="1247429"/>
              <a:ext cx="2520902" cy="25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rmAutofit/>
            </a:bodyPr>
            <a:lstStyle/>
            <a:p>
              <a:r>
                <a:rPr lang="vi-VN" altLang="vi-VN" sz="2200">
                  <a:solidFill>
                    <a:schemeClr val="tx1">
                      <a:lumMod val="65000"/>
                      <a:lumOff val="35000"/>
                    </a:schemeClr>
                  </a:solidFill>
                  <a:latin typeface="Noto Sans"/>
                  <a:ea typeface="Noto Sans"/>
                  <a:cs typeface="+mn-ea"/>
                  <a:sym typeface="Source Han Serif SC" panose="02020700000000000000" pitchFamily="18" charset="-122"/>
                </a:rPr>
                <a:t>Bấm để thêm</a:t>
              </a:r>
            </a:p>
          </p:txBody>
        </p:sp>
        <p:sp>
          <p:nvSpPr>
            <p:cNvPr id="24" name="矩形 23"/>
            <p:cNvSpPr/>
            <p:nvPr/>
          </p:nvSpPr>
          <p:spPr>
            <a:xfrm>
              <a:off x="980156" y="1562621"/>
              <a:ext cx="3168352" cy="384584"/>
            </a:xfrm>
            <a:prstGeom prst="rect">
              <a:avLst/>
            </a:prstGeom>
          </p:spPr>
          <p:txBody>
            <a:bodyPr wrap="square">
              <a:normAutofit/>
            </a:bodyPr>
            <a:lstStyle/>
            <a:p>
              <a:pPr>
                <a:lnSpc>
                  <a:spcPct val="104000"/>
                </a:lnSpc>
              </a:pPr>
              <a:r>
                <a:rPr lang="vi-VN" altLang="vi-VN" sz="1335">
                  <a:solidFill>
                    <a:schemeClr val="tx1">
                      <a:lumMod val="65000"/>
                      <a:lumOff val="35000"/>
                    </a:schemeClr>
                  </a:solidFill>
                  <a:latin typeface="Noto Sans"/>
                  <a:ea typeface="Noto Sans"/>
                  <a:cs typeface="+mn-ea"/>
                  <a:sym typeface="Source Han Serif SC" panose="02020700000000000000" pitchFamily="18" charset="-122"/>
                </a:rPr>
                <a:t>Vui lòng thêm mô tả văn bản và mẫu ở đây. Vui lòng thêm mô tả văn bản và mẫu ở đây. Vui lòng</a:t>
              </a:r>
            </a:p>
          </p:txBody>
        </p:sp>
      </p:grpSp>
      <p:grpSp>
        <p:nvGrpSpPr>
          <p:cNvPr id="25" name="组合 24"/>
          <p:cNvGrpSpPr/>
          <p:nvPr/>
        </p:nvGrpSpPr>
        <p:grpSpPr>
          <a:xfrm>
            <a:off x="966543" y="2449869"/>
            <a:ext cx="4224469" cy="933035"/>
            <a:chOff x="980156" y="1247429"/>
            <a:chExt cx="3168352" cy="699777"/>
          </a:xfrm>
        </p:grpSpPr>
        <p:sp>
          <p:nvSpPr>
            <p:cNvPr id="26" name="1"/>
            <p:cNvSpPr>
              <a:spLocks noChangeArrowheads="1"/>
            </p:cNvSpPr>
            <p:nvPr>
              <p:custDataLst>
                <p:tags r:id="rId11"/>
              </p:custDataLst>
            </p:nvPr>
          </p:nvSpPr>
          <p:spPr bwMode="auto">
            <a:xfrm>
              <a:off x="1043608" y="1247429"/>
              <a:ext cx="2520902" cy="25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rmAutofit/>
            </a:bodyPr>
            <a:lstStyle/>
            <a:p>
              <a:r>
                <a:rPr lang="vi-VN" altLang="vi-VN" sz="2200">
                  <a:solidFill>
                    <a:schemeClr val="tx1">
                      <a:lumMod val="65000"/>
                      <a:lumOff val="35000"/>
                    </a:schemeClr>
                  </a:solidFill>
                  <a:latin typeface="Noto Sans"/>
                  <a:ea typeface="Noto Sans"/>
                  <a:cs typeface="+mn-ea"/>
                  <a:sym typeface="Source Han Serif SC" panose="02020700000000000000" pitchFamily="18" charset="-122"/>
                </a:rPr>
                <a:t>Bấm để thêm</a:t>
              </a:r>
            </a:p>
          </p:txBody>
        </p:sp>
        <p:sp>
          <p:nvSpPr>
            <p:cNvPr id="27" name="矩形 26"/>
            <p:cNvSpPr/>
            <p:nvPr/>
          </p:nvSpPr>
          <p:spPr>
            <a:xfrm>
              <a:off x="980156" y="1562621"/>
              <a:ext cx="3168352" cy="384584"/>
            </a:xfrm>
            <a:prstGeom prst="rect">
              <a:avLst/>
            </a:prstGeom>
          </p:spPr>
          <p:txBody>
            <a:bodyPr wrap="square">
              <a:normAutofit/>
            </a:bodyPr>
            <a:lstStyle/>
            <a:p>
              <a:pPr>
                <a:lnSpc>
                  <a:spcPct val="104000"/>
                </a:lnSpc>
              </a:pPr>
              <a:r>
                <a:rPr lang="vi-VN" altLang="vi-VN" sz="1335">
                  <a:solidFill>
                    <a:schemeClr val="tx1">
                      <a:lumMod val="65000"/>
                      <a:lumOff val="35000"/>
                    </a:schemeClr>
                  </a:solidFill>
                  <a:latin typeface="Noto Sans"/>
                  <a:ea typeface="Noto Sans"/>
                  <a:cs typeface="+mn-ea"/>
                  <a:sym typeface="Source Han Serif SC" panose="02020700000000000000" pitchFamily="18" charset="-122"/>
                </a:rPr>
                <a:t>Vui lòng thêm mô tả văn bản và mẫu ở đây. Vui lòng thêm mô tả văn bản và mẫu ở đây. Vui lòng</a:t>
              </a:r>
            </a:p>
          </p:txBody>
        </p:sp>
      </p:grpSp>
      <p:grpSp>
        <p:nvGrpSpPr>
          <p:cNvPr id="28" name="组合 27"/>
          <p:cNvGrpSpPr/>
          <p:nvPr/>
        </p:nvGrpSpPr>
        <p:grpSpPr>
          <a:xfrm>
            <a:off x="984535" y="4853277"/>
            <a:ext cx="4224469" cy="933035"/>
            <a:chOff x="980156" y="1247429"/>
            <a:chExt cx="3168352" cy="699777"/>
          </a:xfrm>
        </p:grpSpPr>
        <p:sp>
          <p:nvSpPr>
            <p:cNvPr id="29" name="0"/>
            <p:cNvSpPr>
              <a:spLocks noChangeArrowheads="1"/>
            </p:cNvSpPr>
            <p:nvPr>
              <p:custDataLst>
                <p:tags r:id="rId10"/>
              </p:custDataLst>
            </p:nvPr>
          </p:nvSpPr>
          <p:spPr bwMode="auto">
            <a:xfrm>
              <a:off x="1043608" y="1247429"/>
              <a:ext cx="2520902" cy="25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rmAutofit/>
            </a:bodyPr>
            <a:lstStyle/>
            <a:p>
              <a:r>
                <a:rPr lang="vi-VN" altLang="vi-VN" sz="2200">
                  <a:solidFill>
                    <a:schemeClr val="tx1">
                      <a:lumMod val="65000"/>
                      <a:lumOff val="35000"/>
                    </a:schemeClr>
                  </a:solidFill>
                  <a:latin typeface="Noto Sans"/>
                  <a:ea typeface="Noto Sans"/>
                  <a:cs typeface="+mn-ea"/>
                  <a:sym typeface="Source Han Serif SC" panose="02020700000000000000" pitchFamily="18" charset="-122"/>
                </a:rPr>
                <a:t>Bấm để thêm</a:t>
              </a:r>
            </a:p>
          </p:txBody>
        </p:sp>
        <p:sp>
          <p:nvSpPr>
            <p:cNvPr id="30" name="矩形 29"/>
            <p:cNvSpPr/>
            <p:nvPr/>
          </p:nvSpPr>
          <p:spPr>
            <a:xfrm>
              <a:off x="980156" y="1562621"/>
              <a:ext cx="3168352" cy="384584"/>
            </a:xfrm>
            <a:prstGeom prst="rect">
              <a:avLst/>
            </a:prstGeom>
          </p:spPr>
          <p:txBody>
            <a:bodyPr wrap="square">
              <a:normAutofit/>
            </a:bodyPr>
            <a:lstStyle/>
            <a:p>
              <a:pPr>
                <a:lnSpc>
                  <a:spcPct val="104000"/>
                </a:lnSpc>
              </a:pPr>
              <a:r>
                <a:rPr lang="vi-VN" altLang="vi-VN" sz="1335">
                  <a:solidFill>
                    <a:schemeClr val="tx1">
                      <a:lumMod val="65000"/>
                      <a:lumOff val="35000"/>
                    </a:schemeClr>
                  </a:solidFill>
                  <a:latin typeface="Noto Sans"/>
                  <a:ea typeface="Noto Sans"/>
                  <a:cs typeface="+mn-ea"/>
                  <a:sym typeface="Source Han Serif SC" panose="02020700000000000000" pitchFamily="18" charset="-122"/>
                </a:rPr>
                <a:t>Vui lòng thêm mô tả văn bản và mẫu ở đây. Vui lòng thêm mô tả văn bản và mẫu ở đây. Vui lòng</a:t>
              </a:r>
            </a:p>
          </p:txBody>
        </p:sp>
      </p:grpSp>
      <p:sp>
        <p:nvSpPr>
          <p:cNvPr id="31" name="KSO_Shape"/>
          <p:cNvSpPr/>
          <p:nvPr/>
        </p:nvSpPr>
        <p:spPr bwMode="auto">
          <a:xfrm>
            <a:off x="5953460" y="1921981"/>
            <a:ext cx="279757" cy="364475"/>
          </a:xfrm>
          <a:custGeom>
            <a:avLst/>
            <a:gdLst>
              <a:gd name="T0" fmla="*/ 1179344 w 4117"/>
              <a:gd name="T1" fmla="*/ 1550 h 6144"/>
              <a:gd name="T2" fmla="*/ 1212250 w 4117"/>
              <a:gd name="T3" fmla="*/ 11472 h 6144"/>
              <a:gd name="T4" fmla="*/ 1239878 w 4117"/>
              <a:gd name="T5" fmla="*/ 30076 h 6144"/>
              <a:gd name="T6" fmla="*/ 1260988 w 4117"/>
              <a:gd name="T7" fmla="*/ 56121 h 6144"/>
              <a:gd name="T8" fmla="*/ 1274337 w 4117"/>
              <a:gd name="T9" fmla="*/ 87126 h 6144"/>
              <a:gd name="T10" fmla="*/ 1278062 w 4117"/>
              <a:gd name="T11" fmla="*/ 1788728 h 6144"/>
              <a:gd name="T12" fmla="*/ 1274337 w 4117"/>
              <a:gd name="T13" fmla="*/ 1817874 h 6144"/>
              <a:gd name="T14" fmla="*/ 1260988 w 4117"/>
              <a:gd name="T15" fmla="*/ 1848879 h 6144"/>
              <a:gd name="T16" fmla="*/ 1239878 w 4117"/>
              <a:gd name="T17" fmla="*/ 1874924 h 6144"/>
              <a:gd name="T18" fmla="*/ 1212250 w 4117"/>
              <a:gd name="T19" fmla="*/ 1893528 h 6144"/>
              <a:gd name="T20" fmla="*/ 1179344 w 4117"/>
              <a:gd name="T21" fmla="*/ 1903450 h 6144"/>
              <a:gd name="T22" fmla="*/ 109894 w 4117"/>
              <a:gd name="T23" fmla="*/ 1905000 h 6144"/>
              <a:gd name="T24" fmla="*/ 76057 w 4117"/>
              <a:gd name="T25" fmla="*/ 1898179 h 6144"/>
              <a:gd name="T26" fmla="*/ 46565 w 4117"/>
              <a:gd name="T27" fmla="*/ 1881746 h 6144"/>
              <a:gd name="T28" fmla="*/ 22972 w 4117"/>
              <a:gd name="T29" fmla="*/ 1858181 h 6144"/>
              <a:gd name="T30" fmla="*/ 6830 w 4117"/>
              <a:gd name="T31" fmla="*/ 1829036 h 6144"/>
              <a:gd name="T32" fmla="*/ 0 w 4117"/>
              <a:gd name="T33" fmla="*/ 1794929 h 6144"/>
              <a:gd name="T34" fmla="*/ 1242 w 4117"/>
              <a:gd name="T35" fmla="*/ 98599 h 6144"/>
              <a:gd name="T36" fmla="*/ 11486 w 4117"/>
              <a:gd name="T37" fmla="*/ 65732 h 6144"/>
              <a:gd name="T38" fmla="*/ 30112 w 4117"/>
              <a:gd name="T39" fmla="*/ 38137 h 6144"/>
              <a:gd name="T40" fmla="*/ 55878 w 4117"/>
              <a:gd name="T41" fmla="*/ 17053 h 6144"/>
              <a:gd name="T42" fmla="*/ 87232 w 4117"/>
              <a:gd name="T43" fmla="*/ 4031 h 6144"/>
              <a:gd name="T44" fmla="*/ 115792 w 4117"/>
              <a:gd name="T45" fmla="*/ 0 h 6144"/>
              <a:gd name="T46" fmla="*/ 1013882 w 4117"/>
              <a:gd name="T47" fmla="*/ 1284883 h 6144"/>
              <a:gd name="T48" fmla="*/ 1016055 w 4117"/>
              <a:gd name="T49" fmla="*/ 1263179 h 6144"/>
              <a:gd name="T50" fmla="*/ 1005500 w 4117"/>
              <a:gd name="T51" fmla="*/ 1240854 h 6144"/>
              <a:gd name="T52" fmla="*/ 851214 w 4117"/>
              <a:gd name="T53" fmla="*/ 1085515 h 6144"/>
              <a:gd name="T54" fmla="*/ 827000 w 4117"/>
              <a:gd name="T55" fmla="*/ 1072803 h 6144"/>
              <a:gd name="T56" fmla="*/ 805580 w 4117"/>
              <a:gd name="T57" fmla="*/ 1072803 h 6144"/>
              <a:gd name="T58" fmla="*/ 701894 w 4117"/>
              <a:gd name="T59" fmla="*/ 1132954 h 6144"/>
              <a:gd name="T60" fmla="*/ 634840 w 4117"/>
              <a:gd name="T61" fmla="*/ 1053579 h 6144"/>
              <a:gd name="T62" fmla="*/ 585170 w 4117"/>
              <a:gd name="T63" fmla="*/ 976375 h 6144"/>
              <a:gd name="T64" fmla="*/ 550712 w 4117"/>
              <a:gd name="T65" fmla="*/ 900410 h 6144"/>
              <a:gd name="T66" fmla="*/ 530223 w 4117"/>
              <a:gd name="T67" fmla="*/ 824756 h 6144"/>
              <a:gd name="T68" fmla="*/ 521531 w 4117"/>
              <a:gd name="T69" fmla="*/ 748481 h 6144"/>
              <a:gd name="T70" fmla="*/ 619318 w 4117"/>
              <a:gd name="T71" fmla="*/ 667556 h 6144"/>
              <a:gd name="T72" fmla="*/ 632978 w 4117"/>
              <a:gd name="T73" fmla="*/ 651433 h 6144"/>
              <a:gd name="T74" fmla="*/ 637324 w 4117"/>
              <a:gd name="T75" fmla="*/ 626938 h 6144"/>
              <a:gd name="T76" fmla="*/ 582687 w 4117"/>
              <a:gd name="T77" fmla="*/ 415168 h 6144"/>
              <a:gd name="T78" fmla="*/ 570270 w 4117"/>
              <a:gd name="T79" fmla="*/ 391294 h 6144"/>
              <a:gd name="T80" fmla="*/ 552264 w 4117"/>
              <a:gd name="T81" fmla="*/ 378582 h 6144"/>
              <a:gd name="T82" fmla="*/ 380283 w 4117"/>
              <a:gd name="T83" fmla="*/ 388193 h 6144"/>
              <a:gd name="T84" fmla="*/ 347377 w 4117"/>
              <a:gd name="T85" fmla="*/ 395015 h 6144"/>
              <a:gd name="T86" fmla="*/ 329061 w 4117"/>
              <a:gd name="T87" fmla="*/ 414548 h 6144"/>
              <a:gd name="T88" fmla="*/ 325336 w 4117"/>
              <a:gd name="T89" fmla="*/ 441213 h 6144"/>
              <a:gd name="T90" fmla="*/ 327509 w 4117"/>
              <a:gd name="T91" fmla="*/ 570818 h 6144"/>
              <a:gd name="T92" fmla="*/ 340237 w 4117"/>
              <a:gd name="T93" fmla="*/ 689880 h 6144"/>
              <a:gd name="T94" fmla="*/ 362278 w 4117"/>
              <a:gd name="T95" fmla="*/ 799951 h 6144"/>
              <a:gd name="T96" fmla="*/ 393942 w 4117"/>
              <a:gd name="T97" fmla="*/ 901650 h 6144"/>
              <a:gd name="T98" fmla="*/ 435541 w 4117"/>
              <a:gd name="T99" fmla="*/ 996218 h 6144"/>
              <a:gd name="T100" fmla="*/ 486452 w 4117"/>
              <a:gd name="T101" fmla="*/ 1084275 h 6144"/>
              <a:gd name="T102" fmla="*/ 546987 w 4117"/>
              <a:gd name="T103" fmla="*/ 1167061 h 6144"/>
              <a:gd name="T104" fmla="*/ 616835 w 4117"/>
              <a:gd name="T105" fmla="*/ 1245815 h 6144"/>
              <a:gd name="T106" fmla="*/ 696306 w 4117"/>
              <a:gd name="T107" fmla="*/ 1321160 h 6144"/>
              <a:gd name="T108" fmla="*/ 848420 w 4117"/>
              <a:gd name="T109" fmla="*/ 1443013 h 6144"/>
              <a:gd name="T110" fmla="*/ 873254 w 4117"/>
              <a:gd name="T111" fmla="*/ 1452935 h 6144"/>
              <a:gd name="T112" fmla="*/ 899331 w 4117"/>
              <a:gd name="T113" fmla="*/ 1446733 h 6144"/>
              <a:gd name="T114" fmla="*/ 921372 w 4117"/>
              <a:gd name="T115" fmla="*/ 1421619 h 6144"/>
              <a:gd name="T116" fmla="*/ 471241 w 4117"/>
              <a:gd name="T117" fmla="*/ 82476 h 61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17" h="6144">
                <a:moveTo>
                  <a:pt x="373" y="0"/>
                </a:moveTo>
                <a:lnTo>
                  <a:pt x="3742" y="0"/>
                </a:lnTo>
                <a:lnTo>
                  <a:pt x="3761" y="0"/>
                </a:lnTo>
                <a:lnTo>
                  <a:pt x="3780" y="3"/>
                </a:lnTo>
                <a:lnTo>
                  <a:pt x="3799" y="5"/>
                </a:lnTo>
                <a:lnTo>
                  <a:pt x="3818" y="8"/>
                </a:lnTo>
                <a:lnTo>
                  <a:pt x="3836" y="13"/>
                </a:lnTo>
                <a:lnTo>
                  <a:pt x="3853" y="17"/>
                </a:lnTo>
                <a:lnTo>
                  <a:pt x="3870" y="23"/>
                </a:lnTo>
                <a:lnTo>
                  <a:pt x="3888" y="29"/>
                </a:lnTo>
                <a:lnTo>
                  <a:pt x="3905" y="37"/>
                </a:lnTo>
                <a:lnTo>
                  <a:pt x="3920" y="46"/>
                </a:lnTo>
                <a:lnTo>
                  <a:pt x="3936" y="55"/>
                </a:lnTo>
                <a:lnTo>
                  <a:pt x="3952" y="64"/>
                </a:lnTo>
                <a:lnTo>
                  <a:pt x="3966" y="75"/>
                </a:lnTo>
                <a:lnTo>
                  <a:pt x="3981" y="86"/>
                </a:lnTo>
                <a:lnTo>
                  <a:pt x="3994" y="97"/>
                </a:lnTo>
                <a:lnTo>
                  <a:pt x="4006" y="111"/>
                </a:lnTo>
                <a:lnTo>
                  <a:pt x="4020" y="123"/>
                </a:lnTo>
                <a:lnTo>
                  <a:pt x="4031" y="136"/>
                </a:lnTo>
                <a:lnTo>
                  <a:pt x="4042" y="151"/>
                </a:lnTo>
                <a:lnTo>
                  <a:pt x="4053" y="165"/>
                </a:lnTo>
                <a:lnTo>
                  <a:pt x="4062" y="181"/>
                </a:lnTo>
                <a:lnTo>
                  <a:pt x="4071" y="197"/>
                </a:lnTo>
                <a:lnTo>
                  <a:pt x="4080" y="212"/>
                </a:lnTo>
                <a:lnTo>
                  <a:pt x="4088" y="229"/>
                </a:lnTo>
                <a:lnTo>
                  <a:pt x="4094" y="247"/>
                </a:lnTo>
                <a:lnTo>
                  <a:pt x="4100" y="264"/>
                </a:lnTo>
                <a:lnTo>
                  <a:pt x="4105" y="281"/>
                </a:lnTo>
                <a:lnTo>
                  <a:pt x="4109" y="299"/>
                </a:lnTo>
                <a:lnTo>
                  <a:pt x="4112" y="318"/>
                </a:lnTo>
                <a:lnTo>
                  <a:pt x="4114" y="336"/>
                </a:lnTo>
                <a:lnTo>
                  <a:pt x="4117" y="355"/>
                </a:lnTo>
                <a:lnTo>
                  <a:pt x="4117" y="375"/>
                </a:lnTo>
                <a:lnTo>
                  <a:pt x="4117" y="5769"/>
                </a:lnTo>
                <a:lnTo>
                  <a:pt x="4117" y="5789"/>
                </a:lnTo>
                <a:lnTo>
                  <a:pt x="4114" y="5808"/>
                </a:lnTo>
                <a:lnTo>
                  <a:pt x="4112" y="5826"/>
                </a:lnTo>
                <a:lnTo>
                  <a:pt x="4109" y="5845"/>
                </a:lnTo>
                <a:lnTo>
                  <a:pt x="4105" y="5863"/>
                </a:lnTo>
                <a:lnTo>
                  <a:pt x="4100" y="5881"/>
                </a:lnTo>
                <a:lnTo>
                  <a:pt x="4094" y="5899"/>
                </a:lnTo>
                <a:lnTo>
                  <a:pt x="4088" y="5915"/>
                </a:lnTo>
                <a:lnTo>
                  <a:pt x="4080" y="5932"/>
                </a:lnTo>
                <a:lnTo>
                  <a:pt x="4071" y="5948"/>
                </a:lnTo>
                <a:lnTo>
                  <a:pt x="4062" y="5963"/>
                </a:lnTo>
                <a:lnTo>
                  <a:pt x="4053" y="5979"/>
                </a:lnTo>
                <a:lnTo>
                  <a:pt x="4042" y="5993"/>
                </a:lnTo>
                <a:lnTo>
                  <a:pt x="4031" y="6008"/>
                </a:lnTo>
                <a:lnTo>
                  <a:pt x="4020" y="6021"/>
                </a:lnTo>
                <a:lnTo>
                  <a:pt x="4006" y="6035"/>
                </a:lnTo>
                <a:lnTo>
                  <a:pt x="3994" y="6047"/>
                </a:lnTo>
                <a:lnTo>
                  <a:pt x="3981" y="6058"/>
                </a:lnTo>
                <a:lnTo>
                  <a:pt x="3966" y="6069"/>
                </a:lnTo>
                <a:lnTo>
                  <a:pt x="3952" y="6080"/>
                </a:lnTo>
                <a:lnTo>
                  <a:pt x="3936" y="6089"/>
                </a:lnTo>
                <a:lnTo>
                  <a:pt x="3920" y="6098"/>
                </a:lnTo>
                <a:lnTo>
                  <a:pt x="3905" y="6107"/>
                </a:lnTo>
                <a:lnTo>
                  <a:pt x="3888" y="6115"/>
                </a:lnTo>
                <a:lnTo>
                  <a:pt x="3870" y="6122"/>
                </a:lnTo>
                <a:lnTo>
                  <a:pt x="3853" y="6127"/>
                </a:lnTo>
                <a:lnTo>
                  <a:pt x="3836" y="6133"/>
                </a:lnTo>
                <a:lnTo>
                  <a:pt x="3818" y="6136"/>
                </a:lnTo>
                <a:lnTo>
                  <a:pt x="3799" y="6139"/>
                </a:lnTo>
                <a:lnTo>
                  <a:pt x="3780" y="6142"/>
                </a:lnTo>
                <a:lnTo>
                  <a:pt x="3761" y="6144"/>
                </a:lnTo>
                <a:lnTo>
                  <a:pt x="3742" y="6144"/>
                </a:lnTo>
                <a:lnTo>
                  <a:pt x="373" y="6144"/>
                </a:lnTo>
                <a:lnTo>
                  <a:pt x="354" y="6144"/>
                </a:lnTo>
                <a:lnTo>
                  <a:pt x="335" y="6142"/>
                </a:lnTo>
                <a:lnTo>
                  <a:pt x="316" y="6139"/>
                </a:lnTo>
                <a:lnTo>
                  <a:pt x="299" y="6136"/>
                </a:lnTo>
                <a:lnTo>
                  <a:pt x="281" y="6133"/>
                </a:lnTo>
                <a:lnTo>
                  <a:pt x="263" y="6127"/>
                </a:lnTo>
                <a:lnTo>
                  <a:pt x="245" y="6122"/>
                </a:lnTo>
                <a:lnTo>
                  <a:pt x="228" y="6115"/>
                </a:lnTo>
                <a:lnTo>
                  <a:pt x="212" y="6107"/>
                </a:lnTo>
                <a:lnTo>
                  <a:pt x="196" y="6098"/>
                </a:lnTo>
                <a:lnTo>
                  <a:pt x="180" y="6089"/>
                </a:lnTo>
                <a:lnTo>
                  <a:pt x="165" y="6080"/>
                </a:lnTo>
                <a:lnTo>
                  <a:pt x="150" y="6069"/>
                </a:lnTo>
                <a:lnTo>
                  <a:pt x="136" y="6058"/>
                </a:lnTo>
                <a:lnTo>
                  <a:pt x="122" y="6047"/>
                </a:lnTo>
                <a:lnTo>
                  <a:pt x="109" y="6035"/>
                </a:lnTo>
                <a:lnTo>
                  <a:pt x="97" y="6021"/>
                </a:lnTo>
                <a:lnTo>
                  <a:pt x="86" y="6008"/>
                </a:lnTo>
                <a:lnTo>
                  <a:pt x="74" y="5993"/>
                </a:lnTo>
                <a:lnTo>
                  <a:pt x="63" y="5979"/>
                </a:lnTo>
                <a:lnTo>
                  <a:pt x="53" y="5963"/>
                </a:lnTo>
                <a:lnTo>
                  <a:pt x="44" y="5948"/>
                </a:lnTo>
                <a:lnTo>
                  <a:pt x="37" y="5932"/>
                </a:lnTo>
                <a:lnTo>
                  <a:pt x="29" y="5915"/>
                </a:lnTo>
                <a:lnTo>
                  <a:pt x="22" y="5899"/>
                </a:lnTo>
                <a:lnTo>
                  <a:pt x="17" y="5881"/>
                </a:lnTo>
                <a:lnTo>
                  <a:pt x="11" y="5863"/>
                </a:lnTo>
                <a:lnTo>
                  <a:pt x="6" y="5845"/>
                </a:lnTo>
                <a:lnTo>
                  <a:pt x="4" y="5826"/>
                </a:lnTo>
                <a:lnTo>
                  <a:pt x="1" y="5808"/>
                </a:lnTo>
                <a:lnTo>
                  <a:pt x="0" y="5789"/>
                </a:lnTo>
                <a:lnTo>
                  <a:pt x="0" y="5769"/>
                </a:lnTo>
                <a:lnTo>
                  <a:pt x="0" y="375"/>
                </a:lnTo>
                <a:lnTo>
                  <a:pt x="0" y="355"/>
                </a:lnTo>
                <a:lnTo>
                  <a:pt x="1" y="336"/>
                </a:lnTo>
                <a:lnTo>
                  <a:pt x="4" y="318"/>
                </a:lnTo>
                <a:lnTo>
                  <a:pt x="6" y="299"/>
                </a:lnTo>
                <a:lnTo>
                  <a:pt x="11" y="281"/>
                </a:lnTo>
                <a:lnTo>
                  <a:pt x="17" y="264"/>
                </a:lnTo>
                <a:lnTo>
                  <a:pt x="22" y="247"/>
                </a:lnTo>
                <a:lnTo>
                  <a:pt x="29" y="229"/>
                </a:lnTo>
                <a:lnTo>
                  <a:pt x="37" y="212"/>
                </a:lnTo>
                <a:lnTo>
                  <a:pt x="44" y="197"/>
                </a:lnTo>
                <a:lnTo>
                  <a:pt x="53" y="181"/>
                </a:lnTo>
                <a:lnTo>
                  <a:pt x="63" y="165"/>
                </a:lnTo>
                <a:lnTo>
                  <a:pt x="74" y="151"/>
                </a:lnTo>
                <a:lnTo>
                  <a:pt x="86" y="136"/>
                </a:lnTo>
                <a:lnTo>
                  <a:pt x="97" y="123"/>
                </a:lnTo>
                <a:lnTo>
                  <a:pt x="109" y="111"/>
                </a:lnTo>
                <a:lnTo>
                  <a:pt x="122" y="97"/>
                </a:lnTo>
                <a:lnTo>
                  <a:pt x="136" y="86"/>
                </a:lnTo>
                <a:lnTo>
                  <a:pt x="150" y="75"/>
                </a:lnTo>
                <a:lnTo>
                  <a:pt x="165" y="64"/>
                </a:lnTo>
                <a:lnTo>
                  <a:pt x="180" y="55"/>
                </a:lnTo>
                <a:lnTo>
                  <a:pt x="196" y="46"/>
                </a:lnTo>
                <a:lnTo>
                  <a:pt x="212" y="37"/>
                </a:lnTo>
                <a:lnTo>
                  <a:pt x="228" y="29"/>
                </a:lnTo>
                <a:lnTo>
                  <a:pt x="245" y="23"/>
                </a:lnTo>
                <a:lnTo>
                  <a:pt x="263" y="17"/>
                </a:lnTo>
                <a:lnTo>
                  <a:pt x="281" y="13"/>
                </a:lnTo>
                <a:lnTo>
                  <a:pt x="299" y="8"/>
                </a:lnTo>
                <a:lnTo>
                  <a:pt x="316" y="5"/>
                </a:lnTo>
                <a:lnTo>
                  <a:pt x="335" y="3"/>
                </a:lnTo>
                <a:lnTo>
                  <a:pt x="354" y="0"/>
                </a:lnTo>
                <a:lnTo>
                  <a:pt x="373" y="0"/>
                </a:lnTo>
                <a:close/>
                <a:moveTo>
                  <a:pt x="2968" y="4585"/>
                </a:moveTo>
                <a:lnTo>
                  <a:pt x="2968" y="4585"/>
                </a:lnTo>
                <a:lnTo>
                  <a:pt x="3254" y="4168"/>
                </a:lnTo>
                <a:lnTo>
                  <a:pt x="3260" y="4157"/>
                </a:lnTo>
                <a:lnTo>
                  <a:pt x="3266" y="4144"/>
                </a:lnTo>
                <a:lnTo>
                  <a:pt x="3270" y="4133"/>
                </a:lnTo>
                <a:lnTo>
                  <a:pt x="3274" y="4121"/>
                </a:lnTo>
                <a:lnTo>
                  <a:pt x="3275" y="4110"/>
                </a:lnTo>
                <a:lnTo>
                  <a:pt x="3275" y="4098"/>
                </a:lnTo>
                <a:lnTo>
                  <a:pt x="3275" y="4085"/>
                </a:lnTo>
                <a:lnTo>
                  <a:pt x="3273" y="4074"/>
                </a:lnTo>
                <a:lnTo>
                  <a:pt x="3269" y="4062"/>
                </a:lnTo>
                <a:lnTo>
                  <a:pt x="3266" y="4050"/>
                </a:lnTo>
                <a:lnTo>
                  <a:pt x="3260" y="4037"/>
                </a:lnTo>
                <a:lnTo>
                  <a:pt x="3255" y="4026"/>
                </a:lnTo>
                <a:lnTo>
                  <a:pt x="3247" y="4014"/>
                </a:lnTo>
                <a:lnTo>
                  <a:pt x="3239" y="4002"/>
                </a:lnTo>
                <a:lnTo>
                  <a:pt x="3230" y="3989"/>
                </a:lnTo>
                <a:lnTo>
                  <a:pt x="3219" y="3977"/>
                </a:lnTo>
                <a:lnTo>
                  <a:pt x="2757" y="3512"/>
                </a:lnTo>
                <a:lnTo>
                  <a:pt x="2742" y="3501"/>
                </a:lnTo>
                <a:lnTo>
                  <a:pt x="2729" y="3491"/>
                </a:lnTo>
                <a:lnTo>
                  <a:pt x="2715" y="3483"/>
                </a:lnTo>
                <a:lnTo>
                  <a:pt x="2702" y="3476"/>
                </a:lnTo>
                <a:lnTo>
                  <a:pt x="2690" y="3469"/>
                </a:lnTo>
                <a:lnTo>
                  <a:pt x="2676" y="3465"/>
                </a:lnTo>
                <a:lnTo>
                  <a:pt x="2664" y="3460"/>
                </a:lnTo>
                <a:lnTo>
                  <a:pt x="2652" y="3458"/>
                </a:lnTo>
                <a:lnTo>
                  <a:pt x="2641" y="3456"/>
                </a:lnTo>
                <a:lnTo>
                  <a:pt x="2628" y="3456"/>
                </a:lnTo>
                <a:lnTo>
                  <a:pt x="2617" y="3456"/>
                </a:lnTo>
                <a:lnTo>
                  <a:pt x="2606" y="3458"/>
                </a:lnTo>
                <a:lnTo>
                  <a:pt x="2595" y="3460"/>
                </a:lnTo>
                <a:lnTo>
                  <a:pt x="2584" y="3463"/>
                </a:lnTo>
                <a:lnTo>
                  <a:pt x="2574" y="3468"/>
                </a:lnTo>
                <a:lnTo>
                  <a:pt x="2563" y="3473"/>
                </a:lnTo>
                <a:lnTo>
                  <a:pt x="2261" y="3654"/>
                </a:lnTo>
                <a:lnTo>
                  <a:pt x="2220" y="3611"/>
                </a:lnTo>
                <a:lnTo>
                  <a:pt x="2182" y="3567"/>
                </a:lnTo>
                <a:lnTo>
                  <a:pt x="2146" y="3525"/>
                </a:lnTo>
                <a:lnTo>
                  <a:pt x="2111" y="3482"/>
                </a:lnTo>
                <a:lnTo>
                  <a:pt x="2078" y="3440"/>
                </a:lnTo>
                <a:lnTo>
                  <a:pt x="2045" y="3398"/>
                </a:lnTo>
                <a:lnTo>
                  <a:pt x="2015" y="3356"/>
                </a:lnTo>
                <a:lnTo>
                  <a:pt x="1986" y="3314"/>
                </a:lnTo>
                <a:lnTo>
                  <a:pt x="1958" y="3273"/>
                </a:lnTo>
                <a:lnTo>
                  <a:pt x="1933" y="3232"/>
                </a:lnTo>
                <a:lnTo>
                  <a:pt x="1908" y="3190"/>
                </a:lnTo>
                <a:lnTo>
                  <a:pt x="1885" y="3149"/>
                </a:lnTo>
                <a:lnTo>
                  <a:pt x="1864" y="3108"/>
                </a:lnTo>
                <a:lnTo>
                  <a:pt x="1842" y="3067"/>
                </a:lnTo>
                <a:lnTo>
                  <a:pt x="1824" y="3025"/>
                </a:lnTo>
                <a:lnTo>
                  <a:pt x="1806" y="2985"/>
                </a:lnTo>
                <a:lnTo>
                  <a:pt x="1789" y="2944"/>
                </a:lnTo>
                <a:lnTo>
                  <a:pt x="1774" y="2904"/>
                </a:lnTo>
                <a:lnTo>
                  <a:pt x="1760" y="2863"/>
                </a:lnTo>
                <a:lnTo>
                  <a:pt x="1748" y="2823"/>
                </a:lnTo>
                <a:lnTo>
                  <a:pt x="1735" y="2781"/>
                </a:lnTo>
                <a:lnTo>
                  <a:pt x="1725" y="2741"/>
                </a:lnTo>
                <a:lnTo>
                  <a:pt x="1715" y="2700"/>
                </a:lnTo>
                <a:lnTo>
                  <a:pt x="1708" y="2660"/>
                </a:lnTo>
                <a:lnTo>
                  <a:pt x="1700" y="2619"/>
                </a:lnTo>
                <a:lnTo>
                  <a:pt x="1694" y="2578"/>
                </a:lnTo>
                <a:lnTo>
                  <a:pt x="1689" y="2537"/>
                </a:lnTo>
                <a:lnTo>
                  <a:pt x="1684" y="2496"/>
                </a:lnTo>
                <a:lnTo>
                  <a:pt x="1682" y="2455"/>
                </a:lnTo>
                <a:lnTo>
                  <a:pt x="1680" y="2414"/>
                </a:lnTo>
                <a:lnTo>
                  <a:pt x="1677" y="2372"/>
                </a:lnTo>
                <a:lnTo>
                  <a:pt x="1677" y="2331"/>
                </a:lnTo>
                <a:lnTo>
                  <a:pt x="1985" y="2159"/>
                </a:lnTo>
                <a:lnTo>
                  <a:pt x="1995" y="2153"/>
                </a:lnTo>
                <a:lnTo>
                  <a:pt x="2004" y="2146"/>
                </a:lnTo>
                <a:lnTo>
                  <a:pt x="2012" y="2138"/>
                </a:lnTo>
                <a:lnTo>
                  <a:pt x="2020" y="2130"/>
                </a:lnTo>
                <a:lnTo>
                  <a:pt x="2028" y="2121"/>
                </a:lnTo>
                <a:lnTo>
                  <a:pt x="2033" y="2111"/>
                </a:lnTo>
                <a:lnTo>
                  <a:pt x="2039" y="2101"/>
                </a:lnTo>
                <a:lnTo>
                  <a:pt x="2043" y="2090"/>
                </a:lnTo>
                <a:lnTo>
                  <a:pt x="2046" y="2078"/>
                </a:lnTo>
                <a:lnTo>
                  <a:pt x="2050" y="2066"/>
                </a:lnTo>
                <a:lnTo>
                  <a:pt x="2052" y="2052"/>
                </a:lnTo>
                <a:lnTo>
                  <a:pt x="2053" y="2038"/>
                </a:lnTo>
                <a:lnTo>
                  <a:pt x="2053" y="2022"/>
                </a:lnTo>
                <a:lnTo>
                  <a:pt x="2052" y="2007"/>
                </a:lnTo>
                <a:lnTo>
                  <a:pt x="2050" y="1990"/>
                </a:lnTo>
                <a:lnTo>
                  <a:pt x="2048" y="1972"/>
                </a:lnTo>
                <a:lnTo>
                  <a:pt x="1877" y="1339"/>
                </a:lnTo>
                <a:lnTo>
                  <a:pt x="1871" y="1325"/>
                </a:lnTo>
                <a:lnTo>
                  <a:pt x="1866" y="1310"/>
                </a:lnTo>
                <a:lnTo>
                  <a:pt x="1859" y="1297"/>
                </a:lnTo>
                <a:lnTo>
                  <a:pt x="1853" y="1284"/>
                </a:lnTo>
                <a:lnTo>
                  <a:pt x="1845" y="1273"/>
                </a:lnTo>
                <a:lnTo>
                  <a:pt x="1837" y="1262"/>
                </a:lnTo>
                <a:lnTo>
                  <a:pt x="1829" y="1253"/>
                </a:lnTo>
                <a:lnTo>
                  <a:pt x="1820" y="1244"/>
                </a:lnTo>
                <a:lnTo>
                  <a:pt x="1810" y="1237"/>
                </a:lnTo>
                <a:lnTo>
                  <a:pt x="1800" y="1231"/>
                </a:lnTo>
                <a:lnTo>
                  <a:pt x="1790" y="1225"/>
                </a:lnTo>
                <a:lnTo>
                  <a:pt x="1779" y="1221"/>
                </a:lnTo>
                <a:lnTo>
                  <a:pt x="1768" y="1218"/>
                </a:lnTo>
                <a:lnTo>
                  <a:pt x="1756" y="1215"/>
                </a:lnTo>
                <a:lnTo>
                  <a:pt x="1742" y="1213"/>
                </a:lnTo>
                <a:lnTo>
                  <a:pt x="1729" y="1213"/>
                </a:lnTo>
                <a:lnTo>
                  <a:pt x="1225" y="1252"/>
                </a:lnTo>
                <a:lnTo>
                  <a:pt x="1199" y="1254"/>
                </a:lnTo>
                <a:lnTo>
                  <a:pt x="1175" y="1258"/>
                </a:lnTo>
                <a:lnTo>
                  <a:pt x="1154" y="1262"/>
                </a:lnTo>
                <a:lnTo>
                  <a:pt x="1135" y="1268"/>
                </a:lnTo>
                <a:lnTo>
                  <a:pt x="1119" y="1274"/>
                </a:lnTo>
                <a:lnTo>
                  <a:pt x="1105" y="1281"/>
                </a:lnTo>
                <a:lnTo>
                  <a:pt x="1092" y="1290"/>
                </a:lnTo>
                <a:lnTo>
                  <a:pt x="1081" y="1300"/>
                </a:lnTo>
                <a:lnTo>
                  <a:pt x="1072" y="1311"/>
                </a:lnTo>
                <a:lnTo>
                  <a:pt x="1065" y="1323"/>
                </a:lnTo>
                <a:lnTo>
                  <a:pt x="1060" y="1337"/>
                </a:lnTo>
                <a:lnTo>
                  <a:pt x="1055" y="1351"/>
                </a:lnTo>
                <a:lnTo>
                  <a:pt x="1052" y="1367"/>
                </a:lnTo>
                <a:lnTo>
                  <a:pt x="1050" y="1384"/>
                </a:lnTo>
                <a:lnTo>
                  <a:pt x="1049" y="1403"/>
                </a:lnTo>
                <a:lnTo>
                  <a:pt x="1048" y="1423"/>
                </a:lnTo>
                <a:lnTo>
                  <a:pt x="1047" y="1494"/>
                </a:lnTo>
                <a:lnTo>
                  <a:pt x="1047" y="1565"/>
                </a:lnTo>
                <a:lnTo>
                  <a:pt x="1048" y="1636"/>
                </a:lnTo>
                <a:lnTo>
                  <a:pt x="1049" y="1705"/>
                </a:lnTo>
                <a:lnTo>
                  <a:pt x="1052" y="1773"/>
                </a:lnTo>
                <a:lnTo>
                  <a:pt x="1055" y="1841"/>
                </a:lnTo>
                <a:lnTo>
                  <a:pt x="1060" y="1906"/>
                </a:lnTo>
                <a:lnTo>
                  <a:pt x="1065" y="1972"/>
                </a:lnTo>
                <a:lnTo>
                  <a:pt x="1071" y="2037"/>
                </a:lnTo>
                <a:lnTo>
                  <a:pt x="1079" y="2100"/>
                </a:lnTo>
                <a:lnTo>
                  <a:pt x="1087" y="2163"/>
                </a:lnTo>
                <a:lnTo>
                  <a:pt x="1096" y="2225"/>
                </a:lnTo>
                <a:lnTo>
                  <a:pt x="1105" y="2286"/>
                </a:lnTo>
                <a:lnTo>
                  <a:pt x="1116" y="2347"/>
                </a:lnTo>
                <a:lnTo>
                  <a:pt x="1127" y="2406"/>
                </a:lnTo>
                <a:lnTo>
                  <a:pt x="1139" y="2465"/>
                </a:lnTo>
                <a:lnTo>
                  <a:pt x="1152" y="2523"/>
                </a:lnTo>
                <a:lnTo>
                  <a:pt x="1167" y="2580"/>
                </a:lnTo>
                <a:lnTo>
                  <a:pt x="1181" y="2636"/>
                </a:lnTo>
                <a:lnTo>
                  <a:pt x="1197" y="2692"/>
                </a:lnTo>
                <a:lnTo>
                  <a:pt x="1214" y="2747"/>
                </a:lnTo>
                <a:lnTo>
                  <a:pt x="1232" y="2801"/>
                </a:lnTo>
                <a:lnTo>
                  <a:pt x="1251" y="2855"/>
                </a:lnTo>
                <a:lnTo>
                  <a:pt x="1269" y="2908"/>
                </a:lnTo>
                <a:lnTo>
                  <a:pt x="1290" y="2960"/>
                </a:lnTo>
                <a:lnTo>
                  <a:pt x="1311" y="3012"/>
                </a:lnTo>
                <a:lnTo>
                  <a:pt x="1332" y="3063"/>
                </a:lnTo>
                <a:lnTo>
                  <a:pt x="1355" y="3113"/>
                </a:lnTo>
                <a:lnTo>
                  <a:pt x="1379" y="3164"/>
                </a:lnTo>
                <a:lnTo>
                  <a:pt x="1403" y="3213"/>
                </a:lnTo>
                <a:lnTo>
                  <a:pt x="1429" y="3262"/>
                </a:lnTo>
                <a:lnTo>
                  <a:pt x="1455" y="3310"/>
                </a:lnTo>
                <a:lnTo>
                  <a:pt x="1481" y="3356"/>
                </a:lnTo>
                <a:lnTo>
                  <a:pt x="1509" y="3404"/>
                </a:lnTo>
                <a:lnTo>
                  <a:pt x="1538" y="3451"/>
                </a:lnTo>
                <a:lnTo>
                  <a:pt x="1567" y="3497"/>
                </a:lnTo>
                <a:lnTo>
                  <a:pt x="1598" y="3543"/>
                </a:lnTo>
                <a:lnTo>
                  <a:pt x="1630" y="3587"/>
                </a:lnTo>
                <a:lnTo>
                  <a:pt x="1662" y="3633"/>
                </a:lnTo>
                <a:lnTo>
                  <a:pt x="1694" y="3676"/>
                </a:lnTo>
                <a:lnTo>
                  <a:pt x="1728" y="3721"/>
                </a:lnTo>
                <a:lnTo>
                  <a:pt x="1762" y="3764"/>
                </a:lnTo>
                <a:lnTo>
                  <a:pt x="1798" y="3808"/>
                </a:lnTo>
                <a:lnTo>
                  <a:pt x="1835" y="3850"/>
                </a:lnTo>
                <a:lnTo>
                  <a:pt x="1871" y="3893"/>
                </a:lnTo>
                <a:lnTo>
                  <a:pt x="1909" y="3935"/>
                </a:lnTo>
                <a:lnTo>
                  <a:pt x="1948" y="3976"/>
                </a:lnTo>
                <a:lnTo>
                  <a:pt x="1987" y="4018"/>
                </a:lnTo>
                <a:lnTo>
                  <a:pt x="2028" y="4060"/>
                </a:lnTo>
                <a:lnTo>
                  <a:pt x="2069" y="4100"/>
                </a:lnTo>
                <a:lnTo>
                  <a:pt x="2111" y="4141"/>
                </a:lnTo>
                <a:lnTo>
                  <a:pt x="2155" y="4181"/>
                </a:lnTo>
                <a:lnTo>
                  <a:pt x="2198" y="4221"/>
                </a:lnTo>
                <a:lnTo>
                  <a:pt x="2243" y="4261"/>
                </a:lnTo>
                <a:lnTo>
                  <a:pt x="2288" y="4302"/>
                </a:lnTo>
                <a:lnTo>
                  <a:pt x="2334" y="4341"/>
                </a:lnTo>
                <a:lnTo>
                  <a:pt x="2429" y="4420"/>
                </a:lnTo>
                <a:lnTo>
                  <a:pt x="2527" y="4498"/>
                </a:lnTo>
                <a:lnTo>
                  <a:pt x="2628" y="4576"/>
                </a:lnTo>
                <a:lnTo>
                  <a:pt x="2733" y="4654"/>
                </a:lnTo>
                <a:lnTo>
                  <a:pt x="2750" y="4663"/>
                </a:lnTo>
                <a:lnTo>
                  <a:pt x="2767" y="4670"/>
                </a:lnTo>
                <a:lnTo>
                  <a:pt x="2783" y="4677"/>
                </a:lnTo>
                <a:lnTo>
                  <a:pt x="2799" y="4683"/>
                </a:lnTo>
                <a:lnTo>
                  <a:pt x="2813" y="4686"/>
                </a:lnTo>
                <a:lnTo>
                  <a:pt x="2828" y="4687"/>
                </a:lnTo>
                <a:lnTo>
                  <a:pt x="2842" y="4687"/>
                </a:lnTo>
                <a:lnTo>
                  <a:pt x="2856" y="4685"/>
                </a:lnTo>
                <a:lnTo>
                  <a:pt x="2869" y="4682"/>
                </a:lnTo>
                <a:lnTo>
                  <a:pt x="2884" y="4675"/>
                </a:lnTo>
                <a:lnTo>
                  <a:pt x="2897" y="4666"/>
                </a:lnTo>
                <a:lnTo>
                  <a:pt x="2910" y="4655"/>
                </a:lnTo>
                <a:lnTo>
                  <a:pt x="2925" y="4641"/>
                </a:lnTo>
                <a:lnTo>
                  <a:pt x="2939" y="4625"/>
                </a:lnTo>
                <a:lnTo>
                  <a:pt x="2954" y="4606"/>
                </a:lnTo>
                <a:lnTo>
                  <a:pt x="2968" y="4585"/>
                </a:lnTo>
                <a:close/>
                <a:moveTo>
                  <a:pt x="1518" y="266"/>
                </a:moveTo>
                <a:lnTo>
                  <a:pt x="1518" y="398"/>
                </a:lnTo>
                <a:lnTo>
                  <a:pt x="2656" y="398"/>
                </a:lnTo>
                <a:lnTo>
                  <a:pt x="2656" y="266"/>
                </a:lnTo>
                <a:lnTo>
                  <a:pt x="1518" y="266"/>
                </a:lnTo>
                <a:close/>
                <a:moveTo>
                  <a:pt x="525" y="656"/>
                </a:moveTo>
                <a:lnTo>
                  <a:pt x="525" y="5209"/>
                </a:lnTo>
                <a:lnTo>
                  <a:pt x="3595" y="5209"/>
                </a:lnTo>
                <a:lnTo>
                  <a:pt x="3595" y="656"/>
                </a:lnTo>
                <a:lnTo>
                  <a:pt x="525" y="656"/>
                </a:lnTo>
                <a:close/>
              </a:path>
            </a:pathLst>
          </a:custGeom>
          <a:solidFill>
            <a:schemeClr val="bg1"/>
          </a:solidFill>
          <a:ln>
            <a:noFill/>
          </a:ln>
        </p:spPr>
        <p:txBody>
          <a:bodyPr anchor="ctr">
            <a:scene3d>
              <a:camera prst="orthographicFront"/>
              <a:lightRig rig="threePt" dir="t"/>
            </a:scene3d>
          </a:bodyPr>
          <a:lstStyle>
            <a:defPPr>
              <a:defRPr lang="zh-CN"/>
            </a:defPPr>
            <a:lvl1pPr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5pPr>
            <a:lvl6pPr marL="2286000" algn="l" defTabSz="914400" rtl="0" eaLnBrk="1" latinLnBrk="0" hangingPunct="1">
              <a:defRPr kern="1200">
                <a:solidFill>
                  <a:schemeClr val="tx1"/>
                </a:solidFill>
                <a:latin typeface="Calibri"/>
                <a:ea typeface="宋体" panose="02010600030101010101" pitchFamily="2" charset="-122"/>
                <a:cs typeface="+mn-cs"/>
              </a:defRPr>
            </a:lvl6pPr>
            <a:lvl7pPr marL="2743200" algn="l" defTabSz="914400" rtl="0" eaLnBrk="1" latinLnBrk="0" hangingPunct="1">
              <a:defRPr kern="1200">
                <a:solidFill>
                  <a:schemeClr val="tx1"/>
                </a:solidFill>
                <a:latin typeface="Calibri"/>
                <a:ea typeface="宋体" panose="02010600030101010101" pitchFamily="2" charset="-122"/>
                <a:cs typeface="+mn-cs"/>
              </a:defRPr>
            </a:lvl7pPr>
            <a:lvl8pPr marL="3200400" algn="l" defTabSz="914400" rtl="0" eaLnBrk="1" latinLnBrk="0" hangingPunct="1">
              <a:defRPr kern="1200">
                <a:solidFill>
                  <a:schemeClr val="tx1"/>
                </a:solidFill>
                <a:latin typeface="Calibri"/>
                <a:ea typeface="宋体" panose="02010600030101010101" pitchFamily="2" charset="-122"/>
                <a:cs typeface="+mn-cs"/>
              </a:defRPr>
            </a:lvl8pPr>
            <a:lvl9pPr marL="3657600" algn="l" defTabSz="914400" rtl="0" eaLnBrk="1" latinLnBrk="0" hangingPunct="1">
              <a:defRPr kern="1200">
                <a:solidFill>
                  <a:schemeClr val="tx1"/>
                </a:solidFill>
                <a:latin typeface="Calibri"/>
                <a:ea typeface="宋体" panose="02010600030101010101" pitchFamily="2" charset="-122"/>
                <a:cs typeface="+mn-cs"/>
              </a:defRPr>
            </a:lvl9pPr>
          </a:lstStyle>
          <a:p>
            <a:pPr algn="ctr">
              <a:defRPr/>
            </a:pPr>
            <a:endParaRPr lang="zh-CN" altLang="en-US" sz="2400">
              <a:solidFill>
                <a:srgbClr val="FFFFFF"/>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32" name="KSO_Shape"/>
          <p:cNvSpPr/>
          <p:nvPr/>
        </p:nvSpPr>
        <p:spPr bwMode="auto">
          <a:xfrm>
            <a:off x="5937217" y="3115204"/>
            <a:ext cx="302305" cy="312037"/>
          </a:xfrm>
          <a:custGeom>
            <a:avLst/>
            <a:gdLst>
              <a:gd name="T0" fmla="*/ 647115728 w 5608"/>
              <a:gd name="T1" fmla="*/ 107108861 h 5444"/>
              <a:gd name="T2" fmla="*/ 482682772 w 5608"/>
              <a:gd name="T3" fmla="*/ 308963069 h 5444"/>
              <a:gd name="T4" fmla="*/ 482682772 w 5608"/>
              <a:gd name="T5" fmla="*/ 529535615 h 5444"/>
              <a:gd name="T6" fmla="*/ 644346208 w 5608"/>
              <a:gd name="T7" fmla="*/ 535543626 h 5444"/>
              <a:gd name="T8" fmla="*/ 640769238 w 5608"/>
              <a:gd name="T9" fmla="*/ 552412978 h 5444"/>
              <a:gd name="T10" fmla="*/ 635345695 w 5608"/>
              <a:gd name="T11" fmla="*/ 567664894 h 5444"/>
              <a:gd name="T12" fmla="*/ 628191414 w 5608"/>
              <a:gd name="T13" fmla="*/ 581299033 h 5444"/>
              <a:gd name="T14" fmla="*/ 619537048 w 5608"/>
              <a:gd name="T15" fmla="*/ 593199791 h 5444"/>
              <a:gd name="T16" fmla="*/ 609382596 w 5608"/>
              <a:gd name="T17" fmla="*/ 603598716 h 5444"/>
              <a:gd name="T18" fmla="*/ 598305198 w 5608"/>
              <a:gd name="T19" fmla="*/ 612148996 h 5444"/>
              <a:gd name="T20" fmla="*/ 585958366 w 5608"/>
              <a:gd name="T21" fmla="*/ 618966235 h 5444"/>
              <a:gd name="T22" fmla="*/ 572918899 w 5608"/>
              <a:gd name="T23" fmla="*/ 624165358 h 5444"/>
              <a:gd name="T24" fmla="*/ 559187477 w 5608"/>
              <a:gd name="T25" fmla="*/ 627400572 h 5444"/>
              <a:gd name="T26" fmla="*/ 544994072 w 5608"/>
              <a:gd name="T27" fmla="*/ 628902744 h 5444"/>
              <a:gd name="T28" fmla="*/ 106852564 w 5608"/>
              <a:gd name="T29" fmla="*/ 629018348 h 5444"/>
              <a:gd name="T30" fmla="*/ 90582274 w 5608"/>
              <a:gd name="T31" fmla="*/ 627862988 h 5444"/>
              <a:gd name="T32" fmla="*/ 75119775 w 5608"/>
              <a:gd name="T33" fmla="*/ 624165358 h 5444"/>
              <a:gd name="T34" fmla="*/ 60580563 w 5608"/>
              <a:gd name="T35" fmla="*/ 618388215 h 5444"/>
              <a:gd name="T36" fmla="*/ 47079792 w 5608"/>
              <a:gd name="T37" fmla="*/ 610646823 h 5444"/>
              <a:gd name="T38" fmla="*/ 35079108 w 5608"/>
              <a:gd name="T39" fmla="*/ 601172391 h 5444"/>
              <a:gd name="T40" fmla="*/ 24347517 w 5608"/>
              <a:gd name="T41" fmla="*/ 589964577 h 5444"/>
              <a:gd name="T42" fmla="*/ 15462499 w 5608"/>
              <a:gd name="T43" fmla="*/ 577254931 h 5444"/>
              <a:gd name="T44" fmla="*/ 8308219 w 5608"/>
              <a:gd name="T45" fmla="*/ 563505188 h 5444"/>
              <a:gd name="T46" fmla="*/ 3230823 w 5608"/>
              <a:gd name="T47" fmla="*/ 548600084 h 5444"/>
              <a:gd name="T48" fmla="*/ 461643 w 5608"/>
              <a:gd name="T49" fmla="*/ 532770829 h 5444"/>
              <a:gd name="T50" fmla="*/ 0 w 5608"/>
              <a:gd name="T51" fmla="*/ 107108861 h 5444"/>
              <a:gd name="T52" fmla="*/ 461643 w 5608"/>
              <a:gd name="T53" fmla="*/ 96247520 h 5444"/>
              <a:gd name="T54" fmla="*/ 3230823 w 5608"/>
              <a:gd name="T55" fmla="*/ 80418264 h 5444"/>
              <a:gd name="T56" fmla="*/ 8308219 w 5608"/>
              <a:gd name="T57" fmla="*/ 65513161 h 5444"/>
              <a:gd name="T58" fmla="*/ 15462499 w 5608"/>
              <a:gd name="T59" fmla="*/ 51763418 h 5444"/>
              <a:gd name="T60" fmla="*/ 24347517 w 5608"/>
              <a:gd name="T61" fmla="*/ 39169375 h 5444"/>
              <a:gd name="T62" fmla="*/ 35079108 w 5608"/>
              <a:gd name="T63" fmla="*/ 27961562 h 5444"/>
              <a:gd name="T64" fmla="*/ 47079792 w 5608"/>
              <a:gd name="T65" fmla="*/ 18486789 h 5444"/>
              <a:gd name="T66" fmla="*/ 60580563 w 5608"/>
              <a:gd name="T67" fmla="*/ 10745397 h 5444"/>
              <a:gd name="T68" fmla="*/ 75119775 w 5608"/>
              <a:gd name="T69" fmla="*/ 4968254 h 5444"/>
              <a:gd name="T70" fmla="*/ 90582274 w 5608"/>
              <a:gd name="T71" fmla="*/ 1386569 h 5444"/>
              <a:gd name="T72" fmla="*/ 106852564 w 5608"/>
              <a:gd name="T73" fmla="*/ 0 h 5444"/>
              <a:gd name="T74" fmla="*/ 134085096 w 5608"/>
              <a:gd name="T75" fmla="*/ 56847276 h 5444"/>
              <a:gd name="T76" fmla="*/ 508069071 w 5608"/>
              <a:gd name="T77" fmla="*/ 56847276 h 5444"/>
              <a:gd name="T78" fmla="*/ 190280558 w 5608"/>
              <a:gd name="T79" fmla="*/ 90355113 h 5444"/>
              <a:gd name="T80" fmla="*/ 273708552 w 5608"/>
              <a:gd name="T81" fmla="*/ 90355113 h 5444"/>
              <a:gd name="T82" fmla="*/ 64388524 w 5608"/>
              <a:gd name="T83" fmla="*/ 565700645 h 5444"/>
              <a:gd name="T84" fmla="*/ 64388524 w 5608"/>
              <a:gd name="T85" fmla="*/ 498454444 h 54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608" h="5444">
                <a:moveTo>
                  <a:pt x="926" y="0"/>
                </a:moveTo>
                <a:lnTo>
                  <a:pt x="4681" y="0"/>
                </a:lnTo>
                <a:lnTo>
                  <a:pt x="5608" y="927"/>
                </a:lnTo>
                <a:lnTo>
                  <a:pt x="5608" y="3234"/>
                </a:lnTo>
                <a:lnTo>
                  <a:pt x="4183" y="3234"/>
                </a:lnTo>
                <a:lnTo>
                  <a:pt x="4183" y="2674"/>
                </a:lnTo>
                <a:lnTo>
                  <a:pt x="2679" y="3899"/>
                </a:lnTo>
                <a:lnTo>
                  <a:pt x="4183" y="5123"/>
                </a:lnTo>
                <a:lnTo>
                  <a:pt x="4183" y="4583"/>
                </a:lnTo>
                <a:lnTo>
                  <a:pt x="5589" y="4583"/>
                </a:lnTo>
                <a:lnTo>
                  <a:pt x="5584" y="4635"/>
                </a:lnTo>
                <a:lnTo>
                  <a:pt x="5575" y="4685"/>
                </a:lnTo>
                <a:lnTo>
                  <a:pt x="5565" y="4734"/>
                </a:lnTo>
                <a:lnTo>
                  <a:pt x="5553" y="4781"/>
                </a:lnTo>
                <a:lnTo>
                  <a:pt x="5539" y="4827"/>
                </a:lnTo>
                <a:lnTo>
                  <a:pt x="5523" y="4871"/>
                </a:lnTo>
                <a:lnTo>
                  <a:pt x="5506" y="4913"/>
                </a:lnTo>
                <a:lnTo>
                  <a:pt x="5487" y="4955"/>
                </a:lnTo>
                <a:lnTo>
                  <a:pt x="5467" y="4994"/>
                </a:lnTo>
                <a:lnTo>
                  <a:pt x="5444" y="5031"/>
                </a:lnTo>
                <a:lnTo>
                  <a:pt x="5421" y="5067"/>
                </a:lnTo>
                <a:lnTo>
                  <a:pt x="5395" y="5103"/>
                </a:lnTo>
                <a:lnTo>
                  <a:pt x="5369" y="5134"/>
                </a:lnTo>
                <a:lnTo>
                  <a:pt x="5341" y="5166"/>
                </a:lnTo>
                <a:lnTo>
                  <a:pt x="5312" y="5196"/>
                </a:lnTo>
                <a:lnTo>
                  <a:pt x="5281" y="5224"/>
                </a:lnTo>
                <a:lnTo>
                  <a:pt x="5251" y="5251"/>
                </a:lnTo>
                <a:lnTo>
                  <a:pt x="5218" y="5275"/>
                </a:lnTo>
                <a:lnTo>
                  <a:pt x="5185" y="5298"/>
                </a:lnTo>
                <a:lnTo>
                  <a:pt x="5151" y="5320"/>
                </a:lnTo>
                <a:lnTo>
                  <a:pt x="5114" y="5339"/>
                </a:lnTo>
                <a:lnTo>
                  <a:pt x="5078" y="5357"/>
                </a:lnTo>
                <a:lnTo>
                  <a:pt x="5041" y="5374"/>
                </a:lnTo>
                <a:lnTo>
                  <a:pt x="5004" y="5388"/>
                </a:lnTo>
                <a:lnTo>
                  <a:pt x="4965" y="5402"/>
                </a:lnTo>
                <a:lnTo>
                  <a:pt x="4926" y="5412"/>
                </a:lnTo>
                <a:lnTo>
                  <a:pt x="4887" y="5422"/>
                </a:lnTo>
                <a:lnTo>
                  <a:pt x="4846" y="5430"/>
                </a:lnTo>
                <a:lnTo>
                  <a:pt x="4806" y="5436"/>
                </a:lnTo>
                <a:lnTo>
                  <a:pt x="4764" y="5440"/>
                </a:lnTo>
                <a:lnTo>
                  <a:pt x="4723" y="5443"/>
                </a:lnTo>
                <a:lnTo>
                  <a:pt x="4681" y="5444"/>
                </a:lnTo>
                <a:lnTo>
                  <a:pt x="926" y="5444"/>
                </a:lnTo>
                <a:lnTo>
                  <a:pt x="879" y="5443"/>
                </a:lnTo>
                <a:lnTo>
                  <a:pt x="832" y="5439"/>
                </a:lnTo>
                <a:lnTo>
                  <a:pt x="785" y="5434"/>
                </a:lnTo>
                <a:lnTo>
                  <a:pt x="739" y="5425"/>
                </a:lnTo>
                <a:lnTo>
                  <a:pt x="695" y="5414"/>
                </a:lnTo>
                <a:lnTo>
                  <a:pt x="651" y="5402"/>
                </a:lnTo>
                <a:lnTo>
                  <a:pt x="608" y="5388"/>
                </a:lnTo>
                <a:lnTo>
                  <a:pt x="566" y="5371"/>
                </a:lnTo>
                <a:lnTo>
                  <a:pt x="525" y="5352"/>
                </a:lnTo>
                <a:lnTo>
                  <a:pt x="485" y="5331"/>
                </a:lnTo>
                <a:lnTo>
                  <a:pt x="447" y="5309"/>
                </a:lnTo>
                <a:lnTo>
                  <a:pt x="408" y="5285"/>
                </a:lnTo>
                <a:lnTo>
                  <a:pt x="372" y="5259"/>
                </a:lnTo>
                <a:lnTo>
                  <a:pt x="337" y="5231"/>
                </a:lnTo>
                <a:lnTo>
                  <a:pt x="304" y="5203"/>
                </a:lnTo>
                <a:lnTo>
                  <a:pt x="271" y="5172"/>
                </a:lnTo>
                <a:lnTo>
                  <a:pt x="240" y="5140"/>
                </a:lnTo>
                <a:lnTo>
                  <a:pt x="211" y="5106"/>
                </a:lnTo>
                <a:lnTo>
                  <a:pt x="184" y="5071"/>
                </a:lnTo>
                <a:lnTo>
                  <a:pt x="158" y="5034"/>
                </a:lnTo>
                <a:lnTo>
                  <a:pt x="134" y="4996"/>
                </a:lnTo>
                <a:lnTo>
                  <a:pt x="111" y="4958"/>
                </a:lnTo>
                <a:lnTo>
                  <a:pt x="91" y="4917"/>
                </a:lnTo>
                <a:lnTo>
                  <a:pt x="72" y="4877"/>
                </a:lnTo>
                <a:lnTo>
                  <a:pt x="56" y="4834"/>
                </a:lnTo>
                <a:lnTo>
                  <a:pt x="41" y="4792"/>
                </a:lnTo>
                <a:lnTo>
                  <a:pt x="28" y="4748"/>
                </a:lnTo>
                <a:lnTo>
                  <a:pt x="18" y="4703"/>
                </a:lnTo>
                <a:lnTo>
                  <a:pt x="10" y="4658"/>
                </a:lnTo>
                <a:lnTo>
                  <a:pt x="4" y="4611"/>
                </a:lnTo>
                <a:lnTo>
                  <a:pt x="1" y="4564"/>
                </a:lnTo>
                <a:lnTo>
                  <a:pt x="0" y="4517"/>
                </a:lnTo>
                <a:lnTo>
                  <a:pt x="0" y="927"/>
                </a:lnTo>
                <a:lnTo>
                  <a:pt x="1" y="880"/>
                </a:lnTo>
                <a:lnTo>
                  <a:pt x="4" y="833"/>
                </a:lnTo>
                <a:lnTo>
                  <a:pt x="10" y="787"/>
                </a:lnTo>
                <a:lnTo>
                  <a:pt x="18" y="741"/>
                </a:lnTo>
                <a:lnTo>
                  <a:pt x="28" y="696"/>
                </a:lnTo>
                <a:lnTo>
                  <a:pt x="41" y="653"/>
                </a:lnTo>
                <a:lnTo>
                  <a:pt x="56" y="610"/>
                </a:lnTo>
                <a:lnTo>
                  <a:pt x="72" y="567"/>
                </a:lnTo>
                <a:lnTo>
                  <a:pt x="91" y="527"/>
                </a:lnTo>
                <a:lnTo>
                  <a:pt x="111" y="486"/>
                </a:lnTo>
                <a:lnTo>
                  <a:pt x="134" y="448"/>
                </a:lnTo>
                <a:lnTo>
                  <a:pt x="158" y="410"/>
                </a:lnTo>
                <a:lnTo>
                  <a:pt x="184" y="374"/>
                </a:lnTo>
                <a:lnTo>
                  <a:pt x="211" y="339"/>
                </a:lnTo>
                <a:lnTo>
                  <a:pt x="240" y="306"/>
                </a:lnTo>
                <a:lnTo>
                  <a:pt x="271" y="273"/>
                </a:lnTo>
                <a:lnTo>
                  <a:pt x="304" y="242"/>
                </a:lnTo>
                <a:lnTo>
                  <a:pt x="337" y="213"/>
                </a:lnTo>
                <a:lnTo>
                  <a:pt x="372" y="185"/>
                </a:lnTo>
                <a:lnTo>
                  <a:pt x="408" y="160"/>
                </a:lnTo>
                <a:lnTo>
                  <a:pt x="447" y="135"/>
                </a:lnTo>
                <a:lnTo>
                  <a:pt x="485" y="113"/>
                </a:lnTo>
                <a:lnTo>
                  <a:pt x="525" y="93"/>
                </a:lnTo>
                <a:lnTo>
                  <a:pt x="566" y="74"/>
                </a:lnTo>
                <a:lnTo>
                  <a:pt x="608" y="58"/>
                </a:lnTo>
                <a:lnTo>
                  <a:pt x="651" y="43"/>
                </a:lnTo>
                <a:lnTo>
                  <a:pt x="695" y="30"/>
                </a:lnTo>
                <a:lnTo>
                  <a:pt x="739" y="19"/>
                </a:lnTo>
                <a:lnTo>
                  <a:pt x="785" y="12"/>
                </a:lnTo>
                <a:lnTo>
                  <a:pt x="832" y="5"/>
                </a:lnTo>
                <a:lnTo>
                  <a:pt x="879" y="2"/>
                </a:lnTo>
                <a:lnTo>
                  <a:pt x="926" y="0"/>
                </a:lnTo>
                <a:close/>
                <a:moveTo>
                  <a:pt x="4403" y="492"/>
                </a:moveTo>
                <a:lnTo>
                  <a:pt x="1162" y="492"/>
                </a:lnTo>
                <a:lnTo>
                  <a:pt x="1162" y="2201"/>
                </a:lnTo>
                <a:lnTo>
                  <a:pt x="4403" y="2201"/>
                </a:lnTo>
                <a:lnTo>
                  <a:pt x="4403" y="492"/>
                </a:lnTo>
                <a:close/>
                <a:moveTo>
                  <a:pt x="2372" y="782"/>
                </a:moveTo>
                <a:lnTo>
                  <a:pt x="1649" y="782"/>
                </a:lnTo>
                <a:lnTo>
                  <a:pt x="1649" y="1856"/>
                </a:lnTo>
                <a:lnTo>
                  <a:pt x="2372" y="1856"/>
                </a:lnTo>
                <a:lnTo>
                  <a:pt x="2372" y="782"/>
                </a:lnTo>
                <a:close/>
                <a:moveTo>
                  <a:pt x="558" y="4314"/>
                </a:moveTo>
                <a:lnTo>
                  <a:pt x="558" y="4896"/>
                </a:lnTo>
                <a:lnTo>
                  <a:pt x="1093" y="4896"/>
                </a:lnTo>
                <a:lnTo>
                  <a:pt x="1093" y="4314"/>
                </a:lnTo>
                <a:lnTo>
                  <a:pt x="558" y="4314"/>
                </a:lnTo>
                <a:close/>
              </a:path>
            </a:pathLst>
          </a:custGeom>
          <a:solidFill>
            <a:schemeClr val="bg1"/>
          </a:solidFill>
          <a:ln>
            <a:noFill/>
          </a:ln>
        </p:spPr>
        <p:txBody>
          <a:bodyPr anchor="ctr"/>
          <a:lstStyle>
            <a:defPPr>
              <a:defRPr lang="zh-CN"/>
            </a:defPPr>
            <a:lvl1pPr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5pPr>
            <a:lvl6pPr marL="2286000" algn="l" defTabSz="914400" rtl="0" eaLnBrk="1" latinLnBrk="0" hangingPunct="1">
              <a:defRPr kern="1200">
                <a:solidFill>
                  <a:schemeClr val="tx1"/>
                </a:solidFill>
                <a:latin typeface="Calibri"/>
                <a:ea typeface="宋体" panose="02010600030101010101" pitchFamily="2" charset="-122"/>
                <a:cs typeface="+mn-cs"/>
              </a:defRPr>
            </a:lvl6pPr>
            <a:lvl7pPr marL="2743200" algn="l" defTabSz="914400" rtl="0" eaLnBrk="1" latinLnBrk="0" hangingPunct="1">
              <a:defRPr kern="1200">
                <a:solidFill>
                  <a:schemeClr val="tx1"/>
                </a:solidFill>
                <a:latin typeface="Calibri"/>
                <a:ea typeface="宋体" panose="02010600030101010101" pitchFamily="2" charset="-122"/>
                <a:cs typeface="+mn-cs"/>
              </a:defRPr>
            </a:lvl7pPr>
            <a:lvl8pPr marL="3200400" algn="l" defTabSz="914400" rtl="0" eaLnBrk="1" latinLnBrk="0" hangingPunct="1">
              <a:defRPr kern="1200">
                <a:solidFill>
                  <a:schemeClr val="tx1"/>
                </a:solidFill>
                <a:latin typeface="Calibri"/>
                <a:ea typeface="宋体" panose="02010600030101010101" pitchFamily="2" charset="-122"/>
                <a:cs typeface="+mn-cs"/>
              </a:defRPr>
            </a:lvl8pPr>
            <a:lvl9pPr marL="3657600" algn="l" defTabSz="914400" rtl="0" eaLnBrk="1" latinLnBrk="0" hangingPunct="1">
              <a:defRPr kern="1200">
                <a:solidFill>
                  <a:schemeClr val="tx1"/>
                </a:solidFill>
                <a:latin typeface="Calibri"/>
                <a:ea typeface="宋体" panose="02010600030101010101" pitchFamily="2" charset="-122"/>
                <a:cs typeface="+mn-cs"/>
              </a:defRPr>
            </a:lvl9pPr>
          </a:lstStyle>
          <a:p>
            <a:endParaRPr lang="zh-CN" altLang="en-US" sz="2400">
              <a:solidFill>
                <a:schemeClr val="bg1"/>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33" name="KSO_Shape"/>
          <p:cNvSpPr/>
          <p:nvPr/>
        </p:nvSpPr>
        <p:spPr bwMode="auto">
          <a:xfrm>
            <a:off x="5935719" y="4340055"/>
            <a:ext cx="310260" cy="293713"/>
          </a:xfrm>
          <a:custGeom>
            <a:avLst/>
            <a:gdLst>
              <a:gd name="T0" fmla="*/ 576551976 w 5778"/>
              <a:gd name="T1" fmla="*/ 0 h 5471"/>
              <a:gd name="T2" fmla="*/ 587313346 w 5778"/>
              <a:gd name="T3" fmla="*/ 1630345 h 5471"/>
              <a:gd name="T4" fmla="*/ 597313772 w 5778"/>
              <a:gd name="T5" fmla="*/ 5326145 h 5471"/>
              <a:gd name="T6" fmla="*/ 606227510 w 5778"/>
              <a:gd name="T7" fmla="*/ 10761067 h 5471"/>
              <a:gd name="T8" fmla="*/ 613836301 w 5778"/>
              <a:gd name="T9" fmla="*/ 17717886 h 5471"/>
              <a:gd name="T10" fmla="*/ 620141132 w 5778"/>
              <a:gd name="T11" fmla="*/ 26087495 h 5471"/>
              <a:gd name="T12" fmla="*/ 624815273 w 5778"/>
              <a:gd name="T13" fmla="*/ 35544220 h 5471"/>
              <a:gd name="T14" fmla="*/ 627424180 w 5778"/>
              <a:gd name="T15" fmla="*/ 45979283 h 5471"/>
              <a:gd name="T16" fmla="*/ 628076324 w 5778"/>
              <a:gd name="T17" fmla="*/ 382291463 h 5471"/>
              <a:gd name="T18" fmla="*/ 627424180 w 5778"/>
              <a:gd name="T19" fmla="*/ 390552294 h 5471"/>
              <a:gd name="T20" fmla="*/ 624815273 w 5778"/>
              <a:gd name="T21" fmla="*/ 400987358 h 5471"/>
              <a:gd name="T22" fmla="*/ 620141132 w 5778"/>
              <a:gd name="T23" fmla="*/ 410444083 h 5471"/>
              <a:gd name="T24" fmla="*/ 613836301 w 5778"/>
              <a:gd name="T25" fmla="*/ 418814021 h 5471"/>
              <a:gd name="T26" fmla="*/ 606227510 w 5778"/>
              <a:gd name="T27" fmla="*/ 425770511 h 5471"/>
              <a:gd name="T28" fmla="*/ 597313772 w 5778"/>
              <a:gd name="T29" fmla="*/ 431205433 h 5471"/>
              <a:gd name="T30" fmla="*/ 587313346 w 5778"/>
              <a:gd name="T31" fmla="*/ 434901233 h 5471"/>
              <a:gd name="T32" fmla="*/ 576551976 w 5778"/>
              <a:gd name="T33" fmla="*/ 436531907 h 5471"/>
              <a:gd name="T34" fmla="*/ 51633149 w 5778"/>
              <a:gd name="T35" fmla="*/ 436531907 h 5471"/>
              <a:gd name="T36" fmla="*/ 40871778 w 5778"/>
              <a:gd name="T37" fmla="*/ 434901233 h 5471"/>
              <a:gd name="T38" fmla="*/ 30871023 w 5778"/>
              <a:gd name="T39" fmla="*/ 431205433 h 5471"/>
              <a:gd name="T40" fmla="*/ 21957614 w 5778"/>
              <a:gd name="T41" fmla="*/ 425770511 h 5471"/>
              <a:gd name="T42" fmla="*/ 14131223 w 5778"/>
              <a:gd name="T43" fmla="*/ 418814021 h 5471"/>
              <a:gd name="T44" fmla="*/ 7826391 w 5778"/>
              <a:gd name="T45" fmla="*/ 410444083 h 5471"/>
              <a:gd name="T46" fmla="*/ 3369852 w 5778"/>
              <a:gd name="T47" fmla="*/ 400987358 h 5471"/>
              <a:gd name="T48" fmla="*/ 652144 w 5778"/>
              <a:gd name="T49" fmla="*/ 390552294 h 5471"/>
              <a:gd name="T50" fmla="*/ 0 w 5778"/>
              <a:gd name="T51" fmla="*/ 54240444 h 5471"/>
              <a:gd name="T52" fmla="*/ 652144 w 5778"/>
              <a:gd name="T53" fmla="*/ 45979283 h 5471"/>
              <a:gd name="T54" fmla="*/ 3369852 w 5778"/>
              <a:gd name="T55" fmla="*/ 35544220 h 5471"/>
              <a:gd name="T56" fmla="*/ 7826391 w 5778"/>
              <a:gd name="T57" fmla="*/ 26087495 h 5471"/>
              <a:gd name="T58" fmla="*/ 14131223 w 5778"/>
              <a:gd name="T59" fmla="*/ 17717886 h 5471"/>
              <a:gd name="T60" fmla="*/ 21957614 w 5778"/>
              <a:gd name="T61" fmla="*/ 10761067 h 5471"/>
              <a:gd name="T62" fmla="*/ 30871023 w 5778"/>
              <a:gd name="T63" fmla="*/ 5326145 h 5471"/>
              <a:gd name="T64" fmla="*/ 40871778 w 5778"/>
              <a:gd name="T65" fmla="*/ 1630345 h 5471"/>
              <a:gd name="T66" fmla="*/ 51633149 w 5778"/>
              <a:gd name="T67" fmla="*/ 0 h 5471"/>
              <a:gd name="T68" fmla="*/ 154355774 w 5778"/>
              <a:gd name="T69" fmla="*/ 556643094 h 5471"/>
              <a:gd name="T70" fmla="*/ 206749868 w 5778"/>
              <a:gd name="T71" fmla="*/ 548382263 h 5471"/>
              <a:gd name="T72" fmla="*/ 259143962 w 5778"/>
              <a:gd name="T73" fmla="*/ 543273344 h 5471"/>
              <a:gd name="T74" fmla="*/ 384150602 w 5778"/>
              <a:gd name="T75" fmla="*/ 543925679 h 5471"/>
              <a:gd name="T76" fmla="*/ 434370662 w 5778"/>
              <a:gd name="T77" fmla="*/ 549034269 h 5471"/>
              <a:gd name="T78" fmla="*/ 484699193 w 5778"/>
              <a:gd name="T79" fmla="*/ 556643094 h 5471"/>
              <a:gd name="T80" fmla="*/ 154355774 w 5778"/>
              <a:gd name="T81" fmla="*/ 556643094 h 5471"/>
              <a:gd name="T82" fmla="*/ 577856264 w 5778"/>
              <a:gd name="T83" fmla="*/ 339681647 h 5471"/>
              <a:gd name="T84" fmla="*/ 524049081 w 5778"/>
              <a:gd name="T85" fmla="*/ 365117135 h 5471"/>
              <a:gd name="T86" fmla="*/ 517309707 w 5778"/>
              <a:gd name="T87" fmla="*/ 366203922 h 5471"/>
              <a:gd name="T88" fmla="*/ 509700587 w 5778"/>
              <a:gd name="T89" fmla="*/ 370334502 h 5471"/>
              <a:gd name="T90" fmla="*/ 504156700 w 5778"/>
              <a:gd name="T91" fmla="*/ 376965318 h 5471"/>
              <a:gd name="T92" fmla="*/ 501548123 w 5778"/>
              <a:gd name="T93" fmla="*/ 385334927 h 5471"/>
              <a:gd name="T94" fmla="*/ 501874195 w 5778"/>
              <a:gd name="T95" fmla="*/ 392182969 h 5471"/>
              <a:gd name="T96" fmla="*/ 505243718 w 5778"/>
              <a:gd name="T97" fmla="*/ 400226574 h 5471"/>
              <a:gd name="T98" fmla="*/ 511439748 w 5778"/>
              <a:gd name="T99" fmla="*/ 406422280 h 5471"/>
              <a:gd name="T100" fmla="*/ 519483741 w 5778"/>
              <a:gd name="T101" fmla="*/ 409792077 h 5471"/>
              <a:gd name="T102" fmla="*/ 526331916 w 5778"/>
              <a:gd name="T103" fmla="*/ 410009302 h 5471"/>
              <a:gd name="T104" fmla="*/ 534701981 w 5778"/>
              <a:gd name="T105" fmla="*/ 407509396 h 5471"/>
              <a:gd name="T106" fmla="*/ 541441355 w 5778"/>
              <a:gd name="T107" fmla="*/ 402074474 h 5471"/>
              <a:gd name="T108" fmla="*/ 545572152 w 5778"/>
              <a:gd name="T109" fmla="*/ 394465649 h 5471"/>
              <a:gd name="T110" fmla="*/ 546659169 w 5778"/>
              <a:gd name="T111" fmla="*/ 387617608 h 5471"/>
              <a:gd name="T112" fmla="*/ 544811207 w 5778"/>
              <a:gd name="T113" fmla="*/ 378921666 h 5471"/>
              <a:gd name="T114" fmla="*/ 539919465 w 5778"/>
              <a:gd name="T115" fmla="*/ 371747622 h 5471"/>
              <a:gd name="T116" fmla="*/ 532854019 w 5778"/>
              <a:gd name="T117" fmla="*/ 366965035 h 5471"/>
              <a:gd name="T118" fmla="*/ 524049081 w 5778"/>
              <a:gd name="T119" fmla="*/ 365117135 h 54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778" h="5471">
                <a:moveTo>
                  <a:pt x="500" y="0"/>
                </a:moveTo>
                <a:lnTo>
                  <a:pt x="5278" y="0"/>
                </a:lnTo>
                <a:lnTo>
                  <a:pt x="5304" y="0"/>
                </a:lnTo>
                <a:lnTo>
                  <a:pt x="5328" y="2"/>
                </a:lnTo>
                <a:lnTo>
                  <a:pt x="5354" y="5"/>
                </a:lnTo>
                <a:lnTo>
                  <a:pt x="5379" y="10"/>
                </a:lnTo>
                <a:lnTo>
                  <a:pt x="5403" y="15"/>
                </a:lnTo>
                <a:lnTo>
                  <a:pt x="5427" y="22"/>
                </a:lnTo>
                <a:lnTo>
                  <a:pt x="5450" y="30"/>
                </a:lnTo>
                <a:lnTo>
                  <a:pt x="5472" y="39"/>
                </a:lnTo>
                <a:lnTo>
                  <a:pt x="5495" y="49"/>
                </a:lnTo>
                <a:lnTo>
                  <a:pt x="5516" y="60"/>
                </a:lnTo>
                <a:lnTo>
                  <a:pt x="5537" y="72"/>
                </a:lnTo>
                <a:lnTo>
                  <a:pt x="5557" y="85"/>
                </a:lnTo>
                <a:lnTo>
                  <a:pt x="5577" y="99"/>
                </a:lnTo>
                <a:lnTo>
                  <a:pt x="5596" y="113"/>
                </a:lnTo>
                <a:lnTo>
                  <a:pt x="5614" y="130"/>
                </a:lnTo>
                <a:lnTo>
                  <a:pt x="5631" y="146"/>
                </a:lnTo>
                <a:lnTo>
                  <a:pt x="5647" y="163"/>
                </a:lnTo>
                <a:lnTo>
                  <a:pt x="5663" y="181"/>
                </a:lnTo>
                <a:lnTo>
                  <a:pt x="5679" y="200"/>
                </a:lnTo>
                <a:lnTo>
                  <a:pt x="5692" y="220"/>
                </a:lnTo>
                <a:lnTo>
                  <a:pt x="5705" y="240"/>
                </a:lnTo>
                <a:lnTo>
                  <a:pt x="5718" y="261"/>
                </a:lnTo>
                <a:lnTo>
                  <a:pt x="5729" y="283"/>
                </a:lnTo>
                <a:lnTo>
                  <a:pt x="5739" y="305"/>
                </a:lnTo>
                <a:lnTo>
                  <a:pt x="5748" y="327"/>
                </a:lnTo>
                <a:lnTo>
                  <a:pt x="5755" y="351"/>
                </a:lnTo>
                <a:lnTo>
                  <a:pt x="5762" y="374"/>
                </a:lnTo>
                <a:lnTo>
                  <a:pt x="5768" y="399"/>
                </a:lnTo>
                <a:lnTo>
                  <a:pt x="5772" y="423"/>
                </a:lnTo>
                <a:lnTo>
                  <a:pt x="5775" y="448"/>
                </a:lnTo>
                <a:lnTo>
                  <a:pt x="5778" y="473"/>
                </a:lnTo>
                <a:lnTo>
                  <a:pt x="5778" y="499"/>
                </a:lnTo>
                <a:lnTo>
                  <a:pt x="5778" y="3517"/>
                </a:lnTo>
                <a:lnTo>
                  <a:pt x="5778" y="3543"/>
                </a:lnTo>
                <a:lnTo>
                  <a:pt x="5775" y="3568"/>
                </a:lnTo>
                <a:lnTo>
                  <a:pt x="5772" y="3593"/>
                </a:lnTo>
                <a:lnTo>
                  <a:pt x="5768" y="3617"/>
                </a:lnTo>
                <a:lnTo>
                  <a:pt x="5762" y="3642"/>
                </a:lnTo>
                <a:lnTo>
                  <a:pt x="5755" y="3665"/>
                </a:lnTo>
                <a:lnTo>
                  <a:pt x="5748" y="3689"/>
                </a:lnTo>
                <a:lnTo>
                  <a:pt x="5739" y="3711"/>
                </a:lnTo>
                <a:lnTo>
                  <a:pt x="5729" y="3733"/>
                </a:lnTo>
                <a:lnTo>
                  <a:pt x="5718" y="3754"/>
                </a:lnTo>
                <a:lnTo>
                  <a:pt x="5705" y="3776"/>
                </a:lnTo>
                <a:lnTo>
                  <a:pt x="5692" y="3796"/>
                </a:lnTo>
                <a:lnTo>
                  <a:pt x="5679" y="3816"/>
                </a:lnTo>
                <a:lnTo>
                  <a:pt x="5663" y="3835"/>
                </a:lnTo>
                <a:lnTo>
                  <a:pt x="5647" y="3853"/>
                </a:lnTo>
                <a:lnTo>
                  <a:pt x="5631" y="3870"/>
                </a:lnTo>
                <a:lnTo>
                  <a:pt x="5614" y="3887"/>
                </a:lnTo>
                <a:lnTo>
                  <a:pt x="5596" y="3903"/>
                </a:lnTo>
                <a:lnTo>
                  <a:pt x="5577" y="3917"/>
                </a:lnTo>
                <a:lnTo>
                  <a:pt x="5557" y="3932"/>
                </a:lnTo>
                <a:lnTo>
                  <a:pt x="5537" y="3944"/>
                </a:lnTo>
                <a:lnTo>
                  <a:pt x="5516" y="3956"/>
                </a:lnTo>
                <a:lnTo>
                  <a:pt x="5495" y="3967"/>
                </a:lnTo>
                <a:lnTo>
                  <a:pt x="5472" y="3977"/>
                </a:lnTo>
                <a:lnTo>
                  <a:pt x="5450" y="3986"/>
                </a:lnTo>
                <a:lnTo>
                  <a:pt x="5427" y="3994"/>
                </a:lnTo>
                <a:lnTo>
                  <a:pt x="5403" y="4001"/>
                </a:lnTo>
                <a:lnTo>
                  <a:pt x="5379" y="4006"/>
                </a:lnTo>
                <a:lnTo>
                  <a:pt x="5354" y="4011"/>
                </a:lnTo>
                <a:lnTo>
                  <a:pt x="5328" y="4014"/>
                </a:lnTo>
                <a:lnTo>
                  <a:pt x="5304" y="4016"/>
                </a:lnTo>
                <a:lnTo>
                  <a:pt x="5278" y="4016"/>
                </a:lnTo>
                <a:lnTo>
                  <a:pt x="500" y="4016"/>
                </a:lnTo>
                <a:lnTo>
                  <a:pt x="475" y="4016"/>
                </a:lnTo>
                <a:lnTo>
                  <a:pt x="449" y="4014"/>
                </a:lnTo>
                <a:lnTo>
                  <a:pt x="425" y="4011"/>
                </a:lnTo>
                <a:lnTo>
                  <a:pt x="400" y="4006"/>
                </a:lnTo>
                <a:lnTo>
                  <a:pt x="376" y="4001"/>
                </a:lnTo>
                <a:lnTo>
                  <a:pt x="352" y="3994"/>
                </a:lnTo>
                <a:lnTo>
                  <a:pt x="329" y="3986"/>
                </a:lnTo>
                <a:lnTo>
                  <a:pt x="305" y="3977"/>
                </a:lnTo>
                <a:lnTo>
                  <a:pt x="284" y="3967"/>
                </a:lnTo>
                <a:lnTo>
                  <a:pt x="262" y="3956"/>
                </a:lnTo>
                <a:lnTo>
                  <a:pt x="242" y="3944"/>
                </a:lnTo>
                <a:lnTo>
                  <a:pt x="221" y="3932"/>
                </a:lnTo>
                <a:lnTo>
                  <a:pt x="202" y="3917"/>
                </a:lnTo>
                <a:lnTo>
                  <a:pt x="183" y="3903"/>
                </a:lnTo>
                <a:lnTo>
                  <a:pt x="165" y="3887"/>
                </a:lnTo>
                <a:lnTo>
                  <a:pt x="147" y="3870"/>
                </a:lnTo>
                <a:lnTo>
                  <a:pt x="130" y="3853"/>
                </a:lnTo>
                <a:lnTo>
                  <a:pt x="115" y="3835"/>
                </a:lnTo>
                <a:lnTo>
                  <a:pt x="100" y="3816"/>
                </a:lnTo>
                <a:lnTo>
                  <a:pt x="86" y="3796"/>
                </a:lnTo>
                <a:lnTo>
                  <a:pt x="72" y="3776"/>
                </a:lnTo>
                <a:lnTo>
                  <a:pt x="61" y="3754"/>
                </a:lnTo>
                <a:lnTo>
                  <a:pt x="50" y="3733"/>
                </a:lnTo>
                <a:lnTo>
                  <a:pt x="40" y="3711"/>
                </a:lnTo>
                <a:lnTo>
                  <a:pt x="31" y="3689"/>
                </a:lnTo>
                <a:lnTo>
                  <a:pt x="22" y="3665"/>
                </a:lnTo>
                <a:lnTo>
                  <a:pt x="16" y="3642"/>
                </a:lnTo>
                <a:lnTo>
                  <a:pt x="10" y="3617"/>
                </a:lnTo>
                <a:lnTo>
                  <a:pt x="6" y="3593"/>
                </a:lnTo>
                <a:lnTo>
                  <a:pt x="3" y="3568"/>
                </a:lnTo>
                <a:lnTo>
                  <a:pt x="1" y="3543"/>
                </a:lnTo>
                <a:lnTo>
                  <a:pt x="0" y="3517"/>
                </a:lnTo>
                <a:lnTo>
                  <a:pt x="0" y="499"/>
                </a:lnTo>
                <a:lnTo>
                  <a:pt x="1" y="473"/>
                </a:lnTo>
                <a:lnTo>
                  <a:pt x="3" y="448"/>
                </a:lnTo>
                <a:lnTo>
                  <a:pt x="6" y="423"/>
                </a:lnTo>
                <a:lnTo>
                  <a:pt x="10" y="399"/>
                </a:lnTo>
                <a:lnTo>
                  <a:pt x="16" y="374"/>
                </a:lnTo>
                <a:lnTo>
                  <a:pt x="22" y="351"/>
                </a:lnTo>
                <a:lnTo>
                  <a:pt x="31" y="327"/>
                </a:lnTo>
                <a:lnTo>
                  <a:pt x="40" y="305"/>
                </a:lnTo>
                <a:lnTo>
                  <a:pt x="50" y="283"/>
                </a:lnTo>
                <a:lnTo>
                  <a:pt x="61" y="261"/>
                </a:lnTo>
                <a:lnTo>
                  <a:pt x="72" y="240"/>
                </a:lnTo>
                <a:lnTo>
                  <a:pt x="86" y="220"/>
                </a:lnTo>
                <a:lnTo>
                  <a:pt x="100" y="200"/>
                </a:lnTo>
                <a:lnTo>
                  <a:pt x="115" y="181"/>
                </a:lnTo>
                <a:lnTo>
                  <a:pt x="130" y="163"/>
                </a:lnTo>
                <a:lnTo>
                  <a:pt x="147" y="146"/>
                </a:lnTo>
                <a:lnTo>
                  <a:pt x="165" y="130"/>
                </a:lnTo>
                <a:lnTo>
                  <a:pt x="183" y="113"/>
                </a:lnTo>
                <a:lnTo>
                  <a:pt x="202" y="99"/>
                </a:lnTo>
                <a:lnTo>
                  <a:pt x="221" y="85"/>
                </a:lnTo>
                <a:lnTo>
                  <a:pt x="242" y="72"/>
                </a:lnTo>
                <a:lnTo>
                  <a:pt x="262" y="60"/>
                </a:lnTo>
                <a:lnTo>
                  <a:pt x="284" y="49"/>
                </a:lnTo>
                <a:lnTo>
                  <a:pt x="305" y="39"/>
                </a:lnTo>
                <a:lnTo>
                  <a:pt x="329" y="30"/>
                </a:lnTo>
                <a:lnTo>
                  <a:pt x="352" y="22"/>
                </a:lnTo>
                <a:lnTo>
                  <a:pt x="376" y="15"/>
                </a:lnTo>
                <a:lnTo>
                  <a:pt x="400" y="10"/>
                </a:lnTo>
                <a:lnTo>
                  <a:pt x="425" y="5"/>
                </a:lnTo>
                <a:lnTo>
                  <a:pt x="449" y="2"/>
                </a:lnTo>
                <a:lnTo>
                  <a:pt x="475" y="0"/>
                </a:lnTo>
                <a:lnTo>
                  <a:pt x="500" y="0"/>
                </a:lnTo>
                <a:close/>
                <a:moveTo>
                  <a:pt x="1420" y="5121"/>
                </a:moveTo>
                <a:lnTo>
                  <a:pt x="1420" y="5121"/>
                </a:lnTo>
                <a:lnTo>
                  <a:pt x="1541" y="5100"/>
                </a:lnTo>
                <a:lnTo>
                  <a:pt x="1661" y="5080"/>
                </a:lnTo>
                <a:lnTo>
                  <a:pt x="1781" y="5061"/>
                </a:lnTo>
                <a:lnTo>
                  <a:pt x="1902" y="5045"/>
                </a:lnTo>
                <a:lnTo>
                  <a:pt x="2022" y="5031"/>
                </a:lnTo>
                <a:lnTo>
                  <a:pt x="2144" y="5018"/>
                </a:lnTo>
                <a:lnTo>
                  <a:pt x="2264" y="5007"/>
                </a:lnTo>
                <a:lnTo>
                  <a:pt x="2384" y="4998"/>
                </a:lnTo>
                <a:lnTo>
                  <a:pt x="2384" y="4304"/>
                </a:lnTo>
                <a:lnTo>
                  <a:pt x="3534" y="4304"/>
                </a:lnTo>
                <a:lnTo>
                  <a:pt x="3534" y="5004"/>
                </a:lnTo>
                <a:lnTo>
                  <a:pt x="3650" y="5014"/>
                </a:lnTo>
                <a:lnTo>
                  <a:pt x="3766" y="5025"/>
                </a:lnTo>
                <a:lnTo>
                  <a:pt x="3880" y="5037"/>
                </a:lnTo>
                <a:lnTo>
                  <a:pt x="3996" y="5051"/>
                </a:lnTo>
                <a:lnTo>
                  <a:pt x="4112" y="5066"/>
                </a:lnTo>
                <a:lnTo>
                  <a:pt x="4227" y="5083"/>
                </a:lnTo>
                <a:lnTo>
                  <a:pt x="4343" y="5102"/>
                </a:lnTo>
                <a:lnTo>
                  <a:pt x="4459" y="5121"/>
                </a:lnTo>
                <a:lnTo>
                  <a:pt x="4459" y="5471"/>
                </a:lnTo>
                <a:lnTo>
                  <a:pt x="1420" y="5471"/>
                </a:lnTo>
                <a:lnTo>
                  <a:pt x="1420" y="5121"/>
                </a:lnTo>
                <a:close/>
                <a:moveTo>
                  <a:pt x="443" y="467"/>
                </a:moveTo>
                <a:lnTo>
                  <a:pt x="443" y="3125"/>
                </a:lnTo>
                <a:lnTo>
                  <a:pt x="5316" y="3125"/>
                </a:lnTo>
                <a:lnTo>
                  <a:pt x="5316" y="467"/>
                </a:lnTo>
                <a:lnTo>
                  <a:pt x="443" y="467"/>
                </a:lnTo>
                <a:close/>
                <a:moveTo>
                  <a:pt x="4821" y="3359"/>
                </a:moveTo>
                <a:lnTo>
                  <a:pt x="4821" y="3359"/>
                </a:lnTo>
                <a:lnTo>
                  <a:pt x="4800" y="3360"/>
                </a:lnTo>
                <a:lnTo>
                  <a:pt x="4779" y="3363"/>
                </a:lnTo>
                <a:lnTo>
                  <a:pt x="4759" y="3369"/>
                </a:lnTo>
                <a:lnTo>
                  <a:pt x="4740" y="3376"/>
                </a:lnTo>
                <a:lnTo>
                  <a:pt x="4722" y="3384"/>
                </a:lnTo>
                <a:lnTo>
                  <a:pt x="4705" y="3394"/>
                </a:lnTo>
                <a:lnTo>
                  <a:pt x="4689" y="3407"/>
                </a:lnTo>
                <a:lnTo>
                  <a:pt x="4674" y="3420"/>
                </a:lnTo>
                <a:lnTo>
                  <a:pt x="4661" y="3435"/>
                </a:lnTo>
                <a:lnTo>
                  <a:pt x="4648" y="3450"/>
                </a:lnTo>
                <a:lnTo>
                  <a:pt x="4638" y="3468"/>
                </a:lnTo>
                <a:lnTo>
                  <a:pt x="4630" y="3486"/>
                </a:lnTo>
                <a:lnTo>
                  <a:pt x="4623" y="3505"/>
                </a:lnTo>
                <a:lnTo>
                  <a:pt x="4617" y="3525"/>
                </a:lnTo>
                <a:lnTo>
                  <a:pt x="4614" y="3545"/>
                </a:lnTo>
                <a:lnTo>
                  <a:pt x="4613" y="3566"/>
                </a:lnTo>
                <a:lnTo>
                  <a:pt x="4614" y="3587"/>
                </a:lnTo>
                <a:lnTo>
                  <a:pt x="4617" y="3608"/>
                </a:lnTo>
                <a:lnTo>
                  <a:pt x="4623" y="3629"/>
                </a:lnTo>
                <a:lnTo>
                  <a:pt x="4630" y="3647"/>
                </a:lnTo>
                <a:lnTo>
                  <a:pt x="4638" y="3665"/>
                </a:lnTo>
                <a:lnTo>
                  <a:pt x="4648" y="3682"/>
                </a:lnTo>
                <a:lnTo>
                  <a:pt x="4661" y="3699"/>
                </a:lnTo>
                <a:lnTo>
                  <a:pt x="4674" y="3713"/>
                </a:lnTo>
                <a:lnTo>
                  <a:pt x="4689" y="3727"/>
                </a:lnTo>
                <a:lnTo>
                  <a:pt x="4705" y="3739"/>
                </a:lnTo>
                <a:lnTo>
                  <a:pt x="4722" y="3749"/>
                </a:lnTo>
                <a:lnTo>
                  <a:pt x="4740" y="3758"/>
                </a:lnTo>
                <a:lnTo>
                  <a:pt x="4759" y="3765"/>
                </a:lnTo>
                <a:lnTo>
                  <a:pt x="4779" y="3770"/>
                </a:lnTo>
                <a:lnTo>
                  <a:pt x="4800" y="3772"/>
                </a:lnTo>
                <a:lnTo>
                  <a:pt x="4821" y="3773"/>
                </a:lnTo>
                <a:lnTo>
                  <a:pt x="4842" y="3772"/>
                </a:lnTo>
                <a:lnTo>
                  <a:pt x="4863" y="3770"/>
                </a:lnTo>
                <a:lnTo>
                  <a:pt x="4883" y="3765"/>
                </a:lnTo>
                <a:lnTo>
                  <a:pt x="4902" y="3758"/>
                </a:lnTo>
                <a:lnTo>
                  <a:pt x="4919" y="3749"/>
                </a:lnTo>
                <a:lnTo>
                  <a:pt x="4937" y="3739"/>
                </a:lnTo>
                <a:lnTo>
                  <a:pt x="4953" y="3727"/>
                </a:lnTo>
                <a:lnTo>
                  <a:pt x="4967" y="3713"/>
                </a:lnTo>
                <a:lnTo>
                  <a:pt x="4981" y="3699"/>
                </a:lnTo>
                <a:lnTo>
                  <a:pt x="4993" y="3682"/>
                </a:lnTo>
                <a:lnTo>
                  <a:pt x="5003" y="3665"/>
                </a:lnTo>
                <a:lnTo>
                  <a:pt x="5012" y="3647"/>
                </a:lnTo>
                <a:lnTo>
                  <a:pt x="5019" y="3629"/>
                </a:lnTo>
                <a:lnTo>
                  <a:pt x="5024" y="3608"/>
                </a:lnTo>
                <a:lnTo>
                  <a:pt x="5027" y="3587"/>
                </a:lnTo>
                <a:lnTo>
                  <a:pt x="5029" y="3566"/>
                </a:lnTo>
                <a:lnTo>
                  <a:pt x="5027" y="3545"/>
                </a:lnTo>
                <a:lnTo>
                  <a:pt x="5024" y="3525"/>
                </a:lnTo>
                <a:lnTo>
                  <a:pt x="5019" y="3505"/>
                </a:lnTo>
                <a:lnTo>
                  <a:pt x="5012" y="3486"/>
                </a:lnTo>
                <a:lnTo>
                  <a:pt x="5003" y="3468"/>
                </a:lnTo>
                <a:lnTo>
                  <a:pt x="4993" y="3450"/>
                </a:lnTo>
                <a:lnTo>
                  <a:pt x="4981" y="3435"/>
                </a:lnTo>
                <a:lnTo>
                  <a:pt x="4967" y="3420"/>
                </a:lnTo>
                <a:lnTo>
                  <a:pt x="4953" y="3407"/>
                </a:lnTo>
                <a:lnTo>
                  <a:pt x="4937" y="3394"/>
                </a:lnTo>
                <a:lnTo>
                  <a:pt x="4919" y="3384"/>
                </a:lnTo>
                <a:lnTo>
                  <a:pt x="4902" y="3376"/>
                </a:lnTo>
                <a:lnTo>
                  <a:pt x="4883" y="3369"/>
                </a:lnTo>
                <a:lnTo>
                  <a:pt x="4863" y="3363"/>
                </a:lnTo>
                <a:lnTo>
                  <a:pt x="4842" y="3360"/>
                </a:lnTo>
                <a:lnTo>
                  <a:pt x="4821" y="3359"/>
                </a:lnTo>
                <a:close/>
              </a:path>
            </a:pathLst>
          </a:custGeom>
          <a:solidFill>
            <a:schemeClr val="bg1"/>
          </a:solidFill>
          <a:ln>
            <a:noFill/>
          </a:ln>
        </p:spPr>
        <p:txBody>
          <a:bodyPr bIns="816000" anchor="ctr"/>
          <a:lstStyle>
            <a:defPPr>
              <a:defRPr lang="zh-CN"/>
            </a:defPPr>
            <a:lvl1pPr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5pPr>
            <a:lvl6pPr marL="2286000" algn="l" defTabSz="914400" rtl="0" eaLnBrk="1" latinLnBrk="0" hangingPunct="1">
              <a:defRPr kern="1200">
                <a:solidFill>
                  <a:schemeClr val="tx1"/>
                </a:solidFill>
                <a:latin typeface="Calibri"/>
                <a:ea typeface="宋体" panose="02010600030101010101" pitchFamily="2" charset="-122"/>
                <a:cs typeface="+mn-cs"/>
              </a:defRPr>
            </a:lvl6pPr>
            <a:lvl7pPr marL="2743200" algn="l" defTabSz="914400" rtl="0" eaLnBrk="1" latinLnBrk="0" hangingPunct="1">
              <a:defRPr kern="1200">
                <a:solidFill>
                  <a:schemeClr val="tx1"/>
                </a:solidFill>
                <a:latin typeface="Calibri"/>
                <a:ea typeface="宋体" panose="02010600030101010101" pitchFamily="2" charset="-122"/>
                <a:cs typeface="+mn-cs"/>
              </a:defRPr>
            </a:lvl7pPr>
            <a:lvl8pPr marL="3200400" algn="l" defTabSz="914400" rtl="0" eaLnBrk="1" latinLnBrk="0" hangingPunct="1">
              <a:defRPr kern="1200">
                <a:solidFill>
                  <a:schemeClr val="tx1"/>
                </a:solidFill>
                <a:latin typeface="Calibri"/>
                <a:ea typeface="宋体" panose="02010600030101010101" pitchFamily="2" charset="-122"/>
                <a:cs typeface="+mn-cs"/>
              </a:defRPr>
            </a:lvl8pPr>
            <a:lvl9pPr marL="3657600" algn="l" defTabSz="914400" rtl="0" eaLnBrk="1" latinLnBrk="0" hangingPunct="1">
              <a:defRPr kern="1200">
                <a:solidFill>
                  <a:schemeClr val="tx1"/>
                </a:solidFill>
                <a:latin typeface="Calibri"/>
                <a:ea typeface="宋体" panose="02010600030101010101" pitchFamily="2" charset="-122"/>
                <a:cs typeface="+mn-cs"/>
              </a:defRPr>
            </a:lvl9pPr>
          </a:lstStyle>
          <a:p>
            <a:endParaRPr lang="zh-CN" altLang="en-US" sz="24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34" name="KSO_Shape"/>
          <p:cNvSpPr/>
          <p:nvPr/>
        </p:nvSpPr>
        <p:spPr bwMode="auto">
          <a:xfrm>
            <a:off x="5907851" y="5462519"/>
            <a:ext cx="367433" cy="290884"/>
          </a:xfrm>
          <a:custGeom>
            <a:avLst/>
            <a:gdLst>
              <a:gd name="T0" fmla="*/ 170180704 w 5409"/>
              <a:gd name="T1" fmla="*/ 292095944 h 4286"/>
              <a:gd name="T2" fmla="*/ 177250935 w 5409"/>
              <a:gd name="T3" fmla="*/ 508999929 h 4286"/>
              <a:gd name="T4" fmla="*/ 162490266 w 5409"/>
              <a:gd name="T5" fmla="*/ 528943703 h 4286"/>
              <a:gd name="T6" fmla="*/ 108161314 w 5409"/>
              <a:gd name="T7" fmla="*/ 527828971 h 4286"/>
              <a:gd name="T8" fmla="*/ 95385593 w 5409"/>
              <a:gd name="T9" fmla="*/ 506646254 h 4286"/>
              <a:gd name="T10" fmla="*/ 104068153 w 5409"/>
              <a:gd name="T11" fmla="*/ 290485424 h 4286"/>
              <a:gd name="T12" fmla="*/ 214710300 w 5409"/>
              <a:gd name="T13" fmla="*/ 106779895 h 4286"/>
              <a:gd name="T14" fmla="*/ 299800652 w 5409"/>
              <a:gd name="T15" fmla="*/ 83738940 h 4286"/>
              <a:gd name="T16" fmla="*/ 380921814 w 5409"/>
              <a:gd name="T17" fmla="*/ 86588050 h 4286"/>
              <a:gd name="T18" fmla="*/ 457825491 w 5409"/>
              <a:gd name="T19" fmla="*/ 111858469 h 4286"/>
              <a:gd name="T20" fmla="*/ 485113938 w 5409"/>
              <a:gd name="T21" fmla="*/ 115327227 h 4286"/>
              <a:gd name="T22" fmla="*/ 519472615 w 5409"/>
              <a:gd name="T23" fmla="*/ 128457696 h 4286"/>
              <a:gd name="T24" fmla="*/ 561893644 w 5409"/>
              <a:gd name="T25" fmla="*/ 176273281 h 4286"/>
              <a:gd name="T26" fmla="*/ 591042715 w 5409"/>
              <a:gd name="T27" fmla="*/ 236971618 h 4286"/>
              <a:gd name="T28" fmla="*/ 603198580 w 5409"/>
              <a:gd name="T29" fmla="*/ 277850391 h 4286"/>
              <a:gd name="T30" fmla="*/ 622920560 w 5409"/>
              <a:gd name="T31" fmla="*/ 285158780 h 4286"/>
              <a:gd name="T32" fmla="*/ 638053142 w 5409"/>
              <a:gd name="T33" fmla="*/ 273266902 h 4286"/>
              <a:gd name="T34" fmla="*/ 632223328 w 5409"/>
              <a:gd name="T35" fmla="*/ 230901819 h 4286"/>
              <a:gd name="T36" fmla="*/ 599229390 w 5409"/>
              <a:gd name="T37" fmla="*/ 157816168 h 4286"/>
              <a:gd name="T38" fmla="*/ 549986073 w 5409"/>
              <a:gd name="T39" fmla="*/ 100214308 h 4286"/>
              <a:gd name="T40" fmla="*/ 515999662 w 5409"/>
              <a:gd name="T41" fmla="*/ 64290954 h 4286"/>
              <a:gd name="T42" fmla="*/ 497517745 w 5409"/>
              <a:gd name="T43" fmla="*/ 39763690 h 4286"/>
              <a:gd name="T44" fmla="*/ 426319911 w 5409"/>
              <a:gd name="T45" fmla="*/ 12387315 h 4286"/>
              <a:gd name="T46" fmla="*/ 322003464 w 5409"/>
              <a:gd name="T47" fmla="*/ 0 h 4286"/>
              <a:gd name="T48" fmla="*/ 209004456 w 5409"/>
              <a:gd name="T49" fmla="*/ 20191493 h 4286"/>
              <a:gd name="T50" fmla="*/ 165715277 w 5409"/>
              <a:gd name="T51" fmla="*/ 39268253 h 4286"/>
              <a:gd name="T52" fmla="*/ 148846043 w 5409"/>
              <a:gd name="T53" fmla="*/ 64910249 h 4286"/>
              <a:gd name="T54" fmla="*/ 110270233 w 5409"/>
              <a:gd name="T55" fmla="*/ 103434996 h 4286"/>
              <a:gd name="T56" fmla="*/ 62391303 w 5409"/>
              <a:gd name="T57" fmla="*/ 164133684 h 4286"/>
              <a:gd name="T58" fmla="*/ 32125788 w 5409"/>
              <a:gd name="T59" fmla="*/ 241555107 h 4286"/>
              <a:gd name="T60" fmla="*/ 30141192 w 5409"/>
              <a:gd name="T61" fmla="*/ 279088982 h 4286"/>
              <a:gd name="T62" fmla="*/ 46762485 w 5409"/>
              <a:gd name="T63" fmla="*/ 289122975 h 4286"/>
              <a:gd name="T64" fmla="*/ 65368372 w 5409"/>
              <a:gd name="T65" fmla="*/ 279336700 h 4286"/>
              <a:gd name="T66" fmla="*/ 77399914 w 5409"/>
              <a:gd name="T67" fmla="*/ 232264621 h 4286"/>
              <a:gd name="T68" fmla="*/ 106920899 w 5409"/>
              <a:gd name="T69" fmla="*/ 170575060 h 4286"/>
              <a:gd name="T70" fmla="*/ 150086459 w 5409"/>
              <a:gd name="T71" fmla="*/ 122883334 h 4286"/>
              <a:gd name="T72" fmla="*/ 182708483 w 5409"/>
              <a:gd name="T73" fmla="*/ 113840566 h 4286"/>
              <a:gd name="T74" fmla="*/ 207516098 w 5409"/>
              <a:gd name="T75" fmla="*/ 110000583 h 4286"/>
              <a:gd name="T76" fmla="*/ 633215801 w 5409"/>
              <a:gd name="T77" fmla="*/ 506646254 h 4286"/>
              <a:gd name="T78" fmla="*/ 657031295 w 5409"/>
              <a:gd name="T79" fmla="*/ 491409829 h 4286"/>
              <a:gd name="T80" fmla="*/ 669930987 w 5409"/>
              <a:gd name="T81" fmla="*/ 466263269 h 4286"/>
              <a:gd name="T82" fmla="*/ 669186808 w 5409"/>
              <a:gd name="T83" fmla="*/ 345981328 h 4286"/>
              <a:gd name="T84" fmla="*/ 655294642 w 5409"/>
              <a:gd name="T85" fmla="*/ 321577923 h 4286"/>
              <a:gd name="T86" fmla="*/ 630610998 w 5409"/>
              <a:gd name="T87" fmla="*/ 307580088 h 4286"/>
              <a:gd name="T88" fmla="*/ 558544662 w 5409"/>
              <a:gd name="T89" fmla="*/ 286150005 h 4286"/>
              <a:gd name="T90" fmla="*/ 575165954 w 5409"/>
              <a:gd name="T91" fmla="*/ 304359400 h 4286"/>
              <a:gd name="T92" fmla="*/ 570204290 w 5409"/>
              <a:gd name="T93" fmla="*/ 522006891 h 4286"/>
              <a:gd name="T94" fmla="*/ 517860286 w 5409"/>
              <a:gd name="T95" fmla="*/ 530925800 h 4286"/>
              <a:gd name="T96" fmla="*/ 496525624 w 5409"/>
              <a:gd name="T97" fmla="*/ 518166908 h 4286"/>
              <a:gd name="T98" fmla="*/ 495533150 w 5409"/>
              <a:gd name="T99" fmla="*/ 299776263 h 4286"/>
              <a:gd name="T100" fmla="*/ 515379454 w 5409"/>
              <a:gd name="T101" fmla="*/ 285034921 h 4286"/>
              <a:gd name="T102" fmla="*/ 45522069 w 5409"/>
              <a:gd name="T103" fmla="*/ 508504492 h 4286"/>
              <a:gd name="T104" fmla="*/ 19598009 w 5409"/>
              <a:gd name="T105" fmla="*/ 496736473 h 4286"/>
              <a:gd name="T106" fmla="*/ 3348982 w 5409"/>
              <a:gd name="T107" fmla="*/ 473819729 h 4286"/>
              <a:gd name="T108" fmla="*/ 247942 w 5409"/>
              <a:gd name="T109" fmla="*/ 354033223 h 4286"/>
              <a:gd name="T110" fmla="*/ 10667155 w 5409"/>
              <a:gd name="T111" fmla="*/ 327400003 h 4286"/>
              <a:gd name="T112" fmla="*/ 32870319 w 5409"/>
              <a:gd name="T113" fmla="*/ 310057621 h 4286"/>
              <a:gd name="T114" fmla="*/ 50607704 w 5409"/>
              <a:gd name="T115" fmla="*/ 325046329 h 4286"/>
              <a:gd name="T116" fmla="*/ 23939465 w 5409"/>
              <a:gd name="T117" fmla="*/ 339292234 h 4286"/>
              <a:gd name="T118" fmla="*/ 34978885 w 5409"/>
              <a:gd name="T119" fmla="*/ 443098807 h 4286"/>
              <a:gd name="T120" fmla="*/ 40312463 w 5409"/>
              <a:gd name="T121" fmla="*/ 351927267 h 428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409" h="4286">
                <a:moveTo>
                  <a:pt x="965" y="2300"/>
                </a:moveTo>
                <a:lnTo>
                  <a:pt x="1234" y="2300"/>
                </a:lnTo>
                <a:lnTo>
                  <a:pt x="1254" y="2301"/>
                </a:lnTo>
                <a:lnTo>
                  <a:pt x="1274" y="2305"/>
                </a:lnTo>
                <a:lnTo>
                  <a:pt x="1292" y="2310"/>
                </a:lnTo>
                <a:lnTo>
                  <a:pt x="1310" y="2316"/>
                </a:lnTo>
                <a:lnTo>
                  <a:pt x="1327" y="2325"/>
                </a:lnTo>
                <a:lnTo>
                  <a:pt x="1343" y="2335"/>
                </a:lnTo>
                <a:lnTo>
                  <a:pt x="1358" y="2345"/>
                </a:lnTo>
                <a:lnTo>
                  <a:pt x="1372" y="2358"/>
                </a:lnTo>
                <a:lnTo>
                  <a:pt x="1385" y="2372"/>
                </a:lnTo>
                <a:lnTo>
                  <a:pt x="1396" y="2387"/>
                </a:lnTo>
                <a:lnTo>
                  <a:pt x="1406" y="2403"/>
                </a:lnTo>
                <a:lnTo>
                  <a:pt x="1414" y="2420"/>
                </a:lnTo>
                <a:lnTo>
                  <a:pt x="1421" y="2439"/>
                </a:lnTo>
                <a:lnTo>
                  <a:pt x="1426" y="2457"/>
                </a:lnTo>
                <a:lnTo>
                  <a:pt x="1429" y="2477"/>
                </a:lnTo>
                <a:lnTo>
                  <a:pt x="1430" y="2496"/>
                </a:lnTo>
                <a:lnTo>
                  <a:pt x="1430" y="4090"/>
                </a:lnTo>
                <a:lnTo>
                  <a:pt x="1429" y="4109"/>
                </a:lnTo>
                <a:lnTo>
                  <a:pt x="1426" y="4128"/>
                </a:lnTo>
                <a:lnTo>
                  <a:pt x="1421" y="4147"/>
                </a:lnTo>
                <a:lnTo>
                  <a:pt x="1414" y="4166"/>
                </a:lnTo>
                <a:lnTo>
                  <a:pt x="1406" y="4183"/>
                </a:lnTo>
                <a:lnTo>
                  <a:pt x="1396" y="4199"/>
                </a:lnTo>
                <a:lnTo>
                  <a:pt x="1385" y="4214"/>
                </a:lnTo>
                <a:lnTo>
                  <a:pt x="1372" y="4228"/>
                </a:lnTo>
                <a:lnTo>
                  <a:pt x="1358" y="4241"/>
                </a:lnTo>
                <a:lnTo>
                  <a:pt x="1343" y="4251"/>
                </a:lnTo>
                <a:lnTo>
                  <a:pt x="1327" y="4261"/>
                </a:lnTo>
                <a:lnTo>
                  <a:pt x="1310" y="4270"/>
                </a:lnTo>
                <a:lnTo>
                  <a:pt x="1292" y="4276"/>
                </a:lnTo>
                <a:lnTo>
                  <a:pt x="1274" y="4281"/>
                </a:lnTo>
                <a:lnTo>
                  <a:pt x="1254" y="4285"/>
                </a:lnTo>
                <a:lnTo>
                  <a:pt x="1234" y="4286"/>
                </a:lnTo>
                <a:lnTo>
                  <a:pt x="965" y="4286"/>
                </a:lnTo>
                <a:lnTo>
                  <a:pt x="944" y="4285"/>
                </a:lnTo>
                <a:lnTo>
                  <a:pt x="925" y="4281"/>
                </a:lnTo>
                <a:lnTo>
                  <a:pt x="906" y="4276"/>
                </a:lnTo>
                <a:lnTo>
                  <a:pt x="888" y="4270"/>
                </a:lnTo>
                <a:lnTo>
                  <a:pt x="872" y="4261"/>
                </a:lnTo>
                <a:lnTo>
                  <a:pt x="854" y="4251"/>
                </a:lnTo>
                <a:lnTo>
                  <a:pt x="839" y="4241"/>
                </a:lnTo>
                <a:lnTo>
                  <a:pt x="825" y="4228"/>
                </a:lnTo>
                <a:lnTo>
                  <a:pt x="814" y="4214"/>
                </a:lnTo>
                <a:lnTo>
                  <a:pt x="802" y="4199"/>
                </a:lnTo>
                <a:lnTo>
                  <a:pt x="792" y="4183"/>
                </a:lnTo>
                <a:lnTo>
                  <a:pt x="784" y="4166"/>
                </a:lnTo>
                <a:lnTo>
                  <a:pt x="777" y="4147"/>
                </a:lnTo>
                <a:lnTo>
                  <a:pt x="773" y="4128"/>
                </a:lnTo>
                <a:lnTo>
                  <a:pt x="770" y="4109"/>
                </a:lnTo>
                <a:lnTo>
                  <a:pt x="769" y="4090"/>
                </a:lnTo>
                <a:lnTo>
                  <a:pt x="769" y="2496"/>
                </a:lnTo>
                <a:lnTo>
                  <a:pt x="770" y="2477"/>
                </a:lnTo>
                <a:lnTo>
                  <a:pt x="773" y="2457"/>
                </a:lnTo>
                <a:lnTo>
                  <a:pt x="777" y="2439"/>
                </a:lnTo>
                <a:lnTo>
                  <a:pt x="784" y="2420"/>
                </a:lnTo>
                <a:lnTo>
                  <a:pt x="792" y="2403"/>
                </a:lnTo>
                <a:lnTo>
                  <a:pt x="802" y="2387"/>
                </a:lnTo>
                <a:lnTo>
                  <a:pt x="814" y="2372"/>
                </a:lnTo>
                <a:lnTo>
                  <a:pt x="825" y="2358"/>
                </a:lnTo>
                <a:lnTo>
                  <a:pt x="839" y="2345"/>
                </a:lnTo>
                <a:lnTo>
                  <a:pt x="854" y="2335"/>
                </a:lnTo>
                <a:lnTo>
                  <a:pt x="872" y="2325"/>
                </a:lnTo>
                <a:lnTo>
                  <a:pt x="888" y="2316"/>
                </a:lnTo>
                <a:lnTo>
                  <a:pt x="906" y="2310"/>
                </a:lnTo>
                <a:lnTo>
                  <a:pt x="925" y="2305"/>
                </a:lnTo>
                <a:lnTo>
                  <a:pt x="944" y="2301"/>
                </a:lnTo>
                <a:lnTo>
                  <a:pt x="965" y="2300"/>
                </a:lnTo>
                <a:close/>
                <a:moveTo>
                  <a:pt x="1673" y="888"/>
                </a:moveTo>
                <a:lnTo>
                  <a:pt x="1673" y="888"/>
                </a:lnTo>
                <a:lnTo>
                  <a:pt x="1731" y="862"/>
                </a:lnTo>
                <a:lnTo>
                  <a:pt x="1790" y="835"/>
                </a:lnTo>
                <a:lnTo>
                  <a:pt x="1850" y="811"/>
                </a:lnTo>
                <a:lnTo>
                  <a:pt x="1911" y="789"/>
                </a:lnTo>
                <a:lnTo>
                  <a:pt x="1972" y="768"/>
                </a:lnTo>
                <a:lnTo>
                  <a:pt x="2035" y="749"/>
                </a:lnTo>
                <a:lnTo>
                  <a:pt x="2097" y="733"/>
                </a:lnTo>
                <a:lnTo>
                  <a:pt x="2160" y="718"/>
                </a:lnTo>
                <a:lnTo>
                  <a:pt x="2223" y="704"/>
                </a:lnTo>
                <a:lnTo>
                  <a:pt x="2288" y="693"/>
                </a:lnTo>
                <a:lnTo>
                  <a:pt x="2352" y="684"/>
                </a:lnTo>
                <a:lnTo>
                  <a:pt x="2417" y="676"/>
                </a:lnTo>
                <a:lnTo>
                  <a:pt x="2482" y="670"/>
                </a:lnTo>
                <a:lnTo>
                  <a:pt x="2547" y="665"/>
                </a:lnTo>
                <a:lnTo>
                  <a:pt x="2612" y="663"/>
                </a:lnTo>
                <a:lnTo>
                  <a:pt x="2678" y="663"/>
                </a:lnTo>
                <a:lnTo>
                  <a:pt x="2744" y="664"/>
                </a:lnTo>
                <a:lnTo>
                  <a:pt x="2810" y="668"/>
                </a:lnTo>
                <a:lnTo>
                  <a:pt x="2875" y="673"/>
                </a:lnTo>
                <a:lnTo>
                  <a:pt x="2940" y="679"/>
                </a:lnTo>
                <a:lnTo>
                  <a:pt x="3006" y="688"/>
                </a:lnTo>
                <a:lnTo>
                  <a:pt x="3071" y="699"/>
                </a:lnTo>
                <a:lnTo>
                  <a:pt x="3136" y="711"/>
                </a:lnTo>
                <a:lnTo>
                  <a:pt x="3200" y="725"/>
                </a:lnTo>
                <a:lnTo>
                  <a:pt x="3263" y="742"/>
                </a:lnTo>
                <a:lnTo>
                  <a:pt x="3326" y="759"/>
                </a:lnTo>
                <a:lnTo>
                  <a:pt x="3389" y="778"/>
                </a:lnTo>
                <a:lnTo>
                  <a:pt x="3451" y="799"/>
                </a:lnTo>
                <a:lnTo>
                  <a:pt x="3512" y="823"/>
                </a:lnTo>
                <a:lnTo>
                  <a:pt x="3573" y="848"/>
                </a:lnTo>
                <a:lnTo>
                  <a:pt x="3632" y="874"/>
                </a:lnTo>
                <a:lnTo>
                  <a:pt x="3691" y="903"/>
                </a:lnTo>
                <a:lnTo>
                  <a:pt x="3710" y="912"/>
                </a:lnTo>
                <a:lnTo>
                  <a:pt x="3729" y="921"/>
                </a:lnTo>
                <a:lnTo>
                  <a:pt x="3750" y="927"/>
                </a:lnTo>
                <a:lnTo>
                  <a:pt x="3770" y="931"/>
                </a:lnTo>
                <a:lnTo>
                  <a:pt x="3791" y="936"/>
                </a:lnTo>
                <a:lnTo>
                  <a:pt x="3811" y="938"/>
                </a:lnTo>
                <a:lnTo>
                  <a:pt x="3831" y="939"/>
                </a:lnTo>
                <a:lnTo>
                  <a:pt x="3852" y="939"/>
                </a:lnTo>
                <a:lnTo>
                  <a:pt x="3871" y="938"/>
                </a:lnTo>
                <a:lnTo>
                  <a:pt x="3891" y="936"/>
                </a:lnTo>
                <a:lnTo>
                  <a:pt x="3911" y="931"/>
                </a:lnTo>
                <a:lnTo>
                  <a:pt x="3931" y="927"/>
                </a:lnTo>
                <a:lnTo>
                  <a:pt x="3949" y="921"/>
                </a:lnTo>
                <a:lnTo>
                  <a:pt x="3968" y="913"/>
                </a:lnTo>
                <a:lnTo>
                  <a:pt x="3987" y="904"/>
                </a:lnTo>
                <a:lnTo>
                  <a:pt x="4005" y="896"/>
                </a:lnTo>
                <a:lnTo>
                  <a:pt x="4042" y="922"/>
                </a:lnTo>
                <a:lnTo>
                  <a:pt x="4080" y="949"/>
                </a:lnTo>
                <a:lnTo>
                  <a:pt x="4116" y="977"/>
                </a:lnTo>
                <a:lnTo>
                  <a:pt x="4153" y="1007"/>
                </a:lnTo>
                <a:lnTo>
                  <a:pt x="4188" y="1037"/>
                </a:lnTo>
                <a:lnTo>
                  <a:pt x="4224" y="1067"/>
                </a:lnTo>
                <a:lnTo>
                  <a:pt x="4258" y="1100"/>
                </a:lnTo>
                <a:lnTo>
                  <a:pt x="4291" y="1132"/>
                </a:lnTo>
                <a:lnTo>
                  <a:pt x="4323" y="1166"/>
                </a:lnTo>
                <a:lnTo>
                  <a:pt x="4355" y="1200"/>
                </a:lnTo>
                <a:lnTo>
                  <a:pt x="4387" y="1235"/>
                </a:lnTo>
                <a:lnTo>
                  <a:pt x="4418" y="1271"/>
                </a:lnTo>
                <a:lnTo>
                  <a:pt x="4447" y="1308"/>
                </a:lnTo>
                <a:lnTo>
                  <a:pt x="4476" y="1345"/>
                </a:lnTo>
                <a:lnTo>
                  <a:pt x="4503" y="1384"/>
                </a:lnTo>
                <a:lnTo>
                  <a:pt x="4530" y="1423"/>
                </a:lnTo>
                <a:lnTo>
                  <a:pt x="4557" y="1464"/>
                </a:lnTo>
                <a:lnTo>
                  <a:pt x="4582" y="1505"/>
                </a:lnTo>
                <a:lnTo>
                  <a:pt x="4606" y="1547"/>
                </a:lnTo>
                <a:lnTo>
                  <a:pt x="4630" y="1590"/>
                </a:lnTo>
                <a:lnTo>
                  <a:pt x="4652" y="1633"/>
                </a:lnTo>
                <a:lnTo>
                  <a:pt x="4674" y="1677"/>
                </a:lnTo>
                <a:lnTo>
                  <a:pt x="4694" y="1724"/>
                </a:lnTo>
                <a:lnTo>
                  <a:pt x="4714" y="1770"/>
                </a:lnTo>
                <a:lnTo>
                  <a:pt x="4732" y="1817"/>
                </a:lnTo>
                <a:lnTo>
                  <a:pt x="4749" y="1864"/>
                </a:lnTo>
                <a:lnTo>
                  <a:pt x="4765" y="1913"/>
                </a:lnTo>
                <a:lnTo>
                  <a:pt x="4780" y="1963"/>
                </a:lnTo>
                <a:lnTo>
                  <a:pt x="4794" y="2013"/>
                </a:lnTo>
                <a:lnTo>
                  <a:pt x="4807" y="2064"/>
                </a:lnTo>
                <a:lnTo>
                  <a:pt x="4819" y="2117"/>
                </a:lnTo>
                <a:lnTo>
                  <a:pt x="4828" y="2170"/>
                </a:lnTo>
                <a:lnTo>
                  <a:pt x="4832" y="2186"/>
                </a:lnTo>
                <a:lnTo>
                  <a:pt x="4838" y="2202"/>
                </a:lnTo>
                <a:lnTo>
                  <a:pt x="4845" y="2217"/>
                </a:lnTo>
                <a:lnTo>
                  <a:pt x="4853" y="2231"/>
                </a:lnTo>
                <a:lnTo>
                  <a:pt x="4863" y="2243"/>
                </a:lnTo>
                <a:lnTo>
                  <a:pt x="4873" y="2255"/>
                </a:lnTo>
                <a:lnTo>
                  <a:pt x="4885" y="2266"/>
                </a:lnTo>
                <a:lnTo>
                  <a:pt x="4898" y="2276"/>
                </a:lnTo>
                <a:lnTo>
                  <a:pt x="4911" y="2284"/>
                </a:lnTo>
                <a:lnTo>
                  <a:pt x="4926" y="2292"/>
                </a:lnTo>
                <a:lnTo>
                  <a:pt x="4941" y="2297"/>
                </a:lnTo>
                <a:lnTo>
                  <a:pt x="4956" y="2301"/>
                </a:lnTo>
                <a:lnTo>
                  <a:pt x="4972" y="2305"/>
                </a:lnTo>
                <a:lnTo>
                  <a:pt x="4989" y="2306"/>
                </a:lnTo>
                <a:lnTo>
                  <a:pt x="5005" y="2305"/>
                </a:lnTo>
                <a:lnTo>
                  <a:pt x="5022" y="2302"/>
                </a:lnTo>
                <a:lnTo>
                  <a:pt x="5038" y="2299"/>
                </a:lnTo>
                <a:lnTo>
                  <a:pt x="5054" y="2294"/>
                </a:lnTo>
                <a:lnTo>
                  <a:pt x="5069" y="2286"/>
                </a:lnTo>
                <a:lnTo>
                  <a:pt x="5083" y="2278"/>
                </a:lnTo>
                <a:lnTo>
                  <a:pt x="5096" y="2268"/>
                </a:lnTo>
                <a:lnTo>
                  <a:pt x="5108" y="2258"/>
                </a:lnTo>
                <a:lnTo>
                  <a:pt x="5119" y="2247"/>
                </a:lnTo>
                <a:lnTo>
                  <a:pt x="5128" y="2234"/>
                </a:lnTo>
                <a:lnTo>
                  <a:pt x="5137" y="2220"/>
                </a:lnTo>
                <a:lnTo>
                  <a:pt x="5144" y="2206"/>
                </a:lnTo>
                <a:lnTo>
                  <a:pt x="5150" y="2191"/>
                </a:lnTo>
                <a:lnTo>
                  <a:pt x="5154" y="2175"/>
                </a:lnTo>
                <a:lnTo>
                  <a:pt x="5157" y="2159"/>
                </a:lnTo>
                <a:lnTo>
                  <a:pt x="5158" y="2143"/>
                </a:lnTo>
                <a:lnTo>
                  <a:pt x="5157" y="2126"/>
                </a:lnTo>
                <a:lnTo>
                  <a:pt x="5155" y="2109"/>
                </a:lnTo>
                <a:lnTo>
                  <a:pt x="5143" y="2046"/>
                </a:lnTo>
                <a:lnTo>
                  <a:pt x="5129" y="1985"/>
                </a:lnTo>
                <a:lnTo>
                  <a:pt x="5114" y="1924"/>
                </a:lnTo>
                <a:lnTo>
                  <a:pt x="5097" y="1864"/>
                </a:lnTo>
                <a:lnTo>
                  <a:pt x="5079" y="1805"/>
                </a:lnTo>
                <a:lnTo>
                  <a:pt x="5060" y="1748"/>
                </a:lnTo>
                <a:lnTo>
                  <a:pt x="5039" y="1691"/>
                </a:lnTo>
                <a:lnTo>
                  <a:pt x="5018" y="1636"/>
                </a:lnTo>
                <a:lnTo>
                  <a:pt x="4994" y="1581"/>
                </a:lnTo>
                <a:lnTo>
                  <a:pt x="4971" y="1527"/>
                </a:lnTo>
                <a:lnTo>
                  <a:pt x="4945" y="1475"/>
                </a:lnTo>
                <a:lnTo>
                  <a:pt x="4918" y="1423"/>
                </a:lnTo>
                <a:lnTo>
                  <a:pt x="4890" y="1373"/>
                </a:lnTo>
                <a:lnTo>
                  <a:pt x="4861" y="1324"/>
                </a:lnTo>
                <a:lnTo>
                  <a:pt x="4831" y="1274"/>
                </a:lnTo>
                <a:lnTo>
                  <a:pt x="4800" y="1227"/>
                </a:lnTo>
                <a:lnTo>
                  <a:pt x="4767" y="1181"/>
                </a:lnTo>
                <a:lnTo>
                  <a:pt x="4734" y="1135"/>
                </a:lnTo>
                <a:lnTo>
                  <a:pt x="4700" y="1091"/>
                </a:lnTo>
                <a:lnTo>
                  <a:pt x="4665" y="1048"/>
                </a:lnTo>
                <a:lnTo>
                  <a:pt x="4629" y="1005"/>
                </a:lnTo>
                <a:lnTo>
                  <a:pt x="4591" y="965"/>
                </a:lnTo>
                <a:lnTo>
                  <a:pt x="4553" y="924"/>
                </a:lnTo>
                <a:lnTo>
                  <a:pt x="4514" y="884"/>
                </a:lnTo>
                <a:lnTo>
                  <a:pt x="4474" y="847"/>
                </a:lnTo>
                <a:lnTo>
                  <a:pt x="4434" y="809"/>
                </a:lnTo>
                <a:lnTo>
                  <a:pt x="4392" y="773"/>
                </a:lnTo>
                <a:lnTo>
                  <a:pt x="4350" y="738"/>
                </a:lnTo>
                <a:lnTo>
                  <a:pt x="4306" y="704"/>
                </a:lnTo>
                <a:lnTo>
                  <a:pt x="4262" y="671"/>
                </a:lnTo>
                <a:lnTo>
                  <a:pt x="4218" y="639"/>
                </a:lnTo>
                <a:lnTo>
                  <a:pt x="4172" y="608"/>
                </a:lnTo>
                <a:lnTo>
                  <a:pt x="4172" y="585"/>
                </a:lnTo>
                <a:lnTo>
                  <a:pt x="4170" y="562"/>
                </a:lnTo>
                <a:lnTo>
                  <a:pt x="4166" y="540"/>
                </a:lnTo>
                <a:lnTo>
                  <a:pt x="4160" y="519"/>
                </a:lnTo>
                <a:lnTo>
                  <a:pt x="4154" y="496"/>
                </a:lnTo>
                <a:lnTo>
                  <a:pt x="4145" y="476"/>
                </a:lnTo>
                <a:lnTo>
                  <a:pt x="4136" y="455"/>
                </a:lnTo>
                <a:lnTo>
                  <a:pt x="4125" y="435"/>
                </a:lnTo>
                <a:lnTo>
                  <a:pt x="4113" y="416"/>
                </a:lnTo>
                <a:lnTo>
                  <a:pt x="4099" y="397"/>
                </a:lnTo>
                <a:lnTo>
                  <a:pt x="4084" y="380"/>
                </a:lnTo>
                <a:lnTo>
                  <a:pt x="4068" y="364"/>
                </a:lnTo>
                <a:lnTo>
                  <a:pt x="4050" y="348"/>
                </a:lnTo>
                <a:lnTo>
                  <a:pt x="4032" y="334"/>
                </a:lnTo>
                <a:lnTo>
                  <a:pt x="4011" y="321"/>
                </a:lnTo>
                <a:lnTo>
                  <a:pt x="3990" y="309"/>
                </a:lnTo>
                <a:lnTo>
                  <a:pt x="3952" y="291"/>
                </a:lnTo>
                <a:lnTo>
                  <a:pt x="3914" y="273"/>
                </a:lnTo>
                <a:lnTo>
                  <a:pt x="3876" y="255"/>
                </a:lnTo>
                <a:lnTo>
                  <a:pt x="3838" y="238"/>
                </a:lnTo>
                <a:lnTo>
                  <a:pt x="3759" y="205"/>
                </a:lnTo>
                <a:lnTo>
                  <a:pt x="3680" y="175"/>
                </a:lnTo>
                <a:lnTo>
                  <a:pt x="3600" y="149"/>
                </a:lnTo>
                <a:lnTo>
                  <a:pt x="3519" y="123"/>
                </a:lnTo>
                <a:lnTo>
                  <a:pt x="3437" y="100"/>
                </a:lnTo>
                <a:lnTo>
                  <a:pt x="3355" y="79"/>
                </a:lnTo>
                <a:lnTo>
                  <a:pt x="3272" y="61"/>
                </a:lnTo>
                <a:lnTo>
                  <a:pt x="3188" y="46"/>
                </a:lnTo>
                <a:lnTo>
                  <a:pt x="3104" y="32"/>
                </a:lnTo>
                <a:lnTo>
                  <a:pt x="3020" y="21"/>
                </a:lnTo>
                <a:lnTo>
                  <a:pt x="2935" y="11"/>
                </a:lnTo>
                <a:lnTo>
                  <a:pt x="2850" y="5"/>
                </a:lnTo>
                <a:lnTo>
                  <a:pt x="2766" y="1"/>
                </a:lnTo>
                <a:lnTo>
                  <a:pt x="2681" y="0"/>
                </a:lnTo>
                <a:lnTo>
                  <a:pt x="2596" y="0"/>
                </a:lnTo>
                <a:lnTo>
                  <a:pt x="2511" y="3"/>
                </a:lnTo>
                <a:lnTo>
                  <a:pt x="2427" y="8"/>
                </a:lnTo>
                <a:lnTo>
                  <a:pt x="2342" y="16"/>
                </a:lnTo>
                <a:lnTo>
                  <a:pt x="2258" y="25"/>
                </a:lnTo>
                <a:lnTo>
                  <a:pt x="2174" y="38"/>
                </a:lnTo>
                <a:lnTo>
                  <a:pt x="2091" y="53"/>
                </a:lnTo>
                <a:lnTo>
                  <a:pt x="2009" y="70"/>
                </a:lnTo>
                <a:lnTo>
                  <a:pt x="1926" y="90"/>
                </a:lnTo>
                <a:lnTo>
                  <a:pt x="1845" y="111"/>
                </a:lnTo>
                <a:lnTo>
                  <a:pt x="1764" y="136"/>
                </a:lnTo>
                <a:lnTo>
                  <a:pt x="1685" y="163"/>
                </a:lnTo>
                <a:lnTo>
                  <a:pt x="1645" y="177"/>
                </a:lnTo>
                <a:lnTo>
                  <a:pt x="1607" y="192"/>
                </a:lnTo>
                <a:lnTo>
                  <a:pt x="1567" y="207"/>
                </a:lnTo>
                <a:lnTo>
                  <a:pt x="1529" y="223"/>
                </a:lnTo>
                <a:lnTo>
                  <a:pt x="1490" y="240"/>
                </a:lnTo>
                <a:lnTo>
                  <a:pt x="1453" y="257"/>
                </a:lnTo>
                <a:lnTo>
                  <a:pt x="1415" y="274"/>
                </a:lnTo>
                <a:lnTo>
                  <a:pt x="1377" y="292"/>
                </a:lnTo>
                <a:lnTo>
                  <a:pt x="1356" y="304"/>
                </a:lnTo>
                <a:lnTo>
                  <a:pt x="1336" y="317"/>
                </a:lnTo>
                <a:lnTo>
                  <a:pt x="1316" y="331"/>
                </a:lnTo>
                <a:lnTo>
                  <a:pt x="1298" y="347"/>
                </a:lnTo>
                <a:lnTo>
                  <a:pt x="1282" y="363"/>
                </a:lnTo>
                <a:lnTo>
                  <a:pt x="1267" y="380"/>
                </a:lnTo>
                <a:lnTo>
                  <a:pt x="1253" y="398"/>
                </a:lnTo>
                <a:lnTo>
                  <a:pt x="1240" y="418"/>
                </a:lnTo>
                <a:lnTo>
                  <a:pt x="1230" y="438"/>
                </a:lnTo>
                <a:lnTo>
                  <a:pt x="1220" y="458"/>
                </a:lnTo>
                <a:lnTo>
                  <a:pt x="1211" y="480"/>
                </a:lnTo>
                <a:lnTo>
                  <a:pt x="1205" y="501"/>
                </a:lnTo>
                <a:lnTo>
                  <a:pt x="1200" y="524"/>
                </a:lnTo>
                <a:lnTo>
                  <a:pt x="1195" y="546"/>
                </a:lnTo>
                <a:lnTo>
                  <a:pt x="1193" y="569"/>
                </a:lnTo>
                <a:lnTo>
                  <a:pt x="1192" y="591"/>
                </a:lnTo>
                <a:lnTo>
                  <a:pt x="1147" y="624"/>
                </a:lnTo>
                <a:lnTo>
                  <a:pt x="1102" y="656"/>
                </a:lnTo>
                <a:lnTo>
                  <a:pt x="1057" y="689"/>
                </a:lnTo>
                <a:lnTo>
                  <a:pt x="1014" y="724"/>
                </a:lnTo>
                <a:lnTo>
                  <a:pt x="971" y="760"/>
                </a:lnTo>
                <a:lnTo>
                  <a:pt x="929" y="796"/>
                </a:lnTo>
                <a:lnTo>
                  <a:pt x="889" y="835"/>
                </a:lnTo>
                <a:lnTo>
                  <a:pt x="849" y="873"/>
                </a:lnTo>
                <a:lnTo>
                  <a:pt x="809" y="913"/>
                </a:lnTo>
                <a:lnTo>
                  <a:pt x="771" y="955"/>
                </a:lnTo>
                <a:lnTo>
                  <a:pt x="734" y="997"/>
                </a:lnTo>
                <a:lnTo>
                  <a:pt x="698" y="1041"/>
                </a:lnTo>
                <a:lnTo>
                  <a:pt x="662" y="1085"/>
                </a:lnTo>
                <a:lnTo>
                  <a:pt x="628" y="1131"/>
                </a:lnTo>
                <a:lnTo>
                  <a:pt x="596" y="1178"/>
                </a:lnTo>
                <a:lnTo>
                  <a:pt x="564" y="1225"/>
                </a:lnTo>
                <a:lnTo>
                  <a:pt x="533" y="1274"/>
                </a:lnTo>
                <a:lnTo>
                  <a:pt x="503" y="1325"/>
                </a:lnTo>
                <a:lnTo>
                  <a:pt x="475" y="1376"/>
                </a:lnTo>
                <a:lnTo>
                  <a:pt x="447" y="1428"/>
                </a:lnTo>
                <a:lnTo>
                  <a:pt x="421" y="1481"/>
                </a:lnTo>
                <a:lnTo>
                  <a:pt x="397" y="1536"/>
                </a:lnTo>
                <a:lnTo>
                  <a:pt x="373" y="1592"/>
                </a:lnTo>
                <a:lnTo>
                  <a:pt x="351" y="1648"/>
                </a:lnTo>
                <a:lnTo>
                  <a:pt x="329" y="1706"/>
                </a:lnTo>
                <a:lnTo>
                  <a:pt x="310" y="1765"/>
                </a:lnTo>
                <a:lnTo>
                  <a:pt x="292" y="1825"/>
                </a:lnTo>
                <a:lnTo>
                  <a:pt x="274" y="1886"/>
                </a:lnTo>
                <a:lnTo>
                  <a:pt x="259" y="1950"/>
                </a:lnTo>
                <a:lnTo>
                  <a:pt x="245" y="2013"/>
                </a:lnTo>
                <a:lnTo>
                  <a:pt x="233" y="2077"/>
                </a:lnTo>
                <a:lnTo>
                  <a:pt x="222" y="2143"/>
                </a:lnTo>
                <a:lnTo>
                  <a:pt x="220" y="2160"/>
                </a:lnTo>
                <a:lnTo>
                  <a:pt x="220" y="2177"/>
                </a:lnTo>
                <a:lnTo>
                  <a:pt x="222" y="2193"/>
                </a:lnTo>
                <a:lnTo>
                  <a:pt x="225" y="2209"/>
                </a:lnTo>
                <a:lnTo>
                  <a:pt x="229" y="2224"/>
                </a:lnTo>
                <a:lnTo>
                  <a:pt x="236" y="2239"/>
                </a:lnTo>
                <a:lnTo>
                  <a:pt x="243" y="2253"/>
                </a:lnTo>
                <a:lnTo>
                  <a:pt x="252" y="2266"/>
                </a:lnTo>
                <a:lnTo>
                  <a:pt x="262" y="2279"/>
                </a:lnTo>
                <a:lnTo>
                  <a:pt x="273" y="2290"/>
                </a:lnTo>
                <a:lnTo>
                  <a:pt x="285" y="2300"/>
                </a:lnTo>
                <a:lnTo>
                  <a:pt x="299" y="2310"/>
                </a:lnTo>
                <a:lnTo>
                  <a:pt x="313" y="2317"/>
                </a:lnTo>
                <a:lnTo>
                  <a:pt x="328" y="2324"/>
                </a:lnTo>
                <a:lnTo>
                  <a:pt x="344" y="2329"/>
                </a:lnTo>
                <a:lnTo>
                  <a:pt x="360" y="2332"/>
                </a:lnTo>
                <a:lnTo>
                  <a:pt x="377" y="2334"/>
                </a:lnTo>
                <a:lnTo>
                  <a:pt x="394" y="2334"/>
                </a:lnTo>
                <a:lnTo>
                  <a:pt x="411" y="2332"/>
                </a:lnTo>
                <a:lnTo>
                  <a:pt x="427" y="2329"/>
                </a:lnTo>
                <a:lnTo>
                  <a:pt x="442" y="2325"/>
                </a:lnTo>
                <a:lnTo>
                  <a:pt x="457" y="2319"/>
                </a:lnTo>
                <a:lnTo>
                  <a:pt x="471" y="2311"/>
                </a:lnTo>
                <a:lnTo>
                  <a:pt x="483" y="2302"/>
                </a:lnTo>
                <a:lnTo>
                  <a:pt x="496" y="2292"/>
                </a:lnTo>
                <a:lnTo>
                  <a:pt x="508" y="2281"/>
                </a:lnTo>
                <a:lnTo>
                  <a:pt x="518" y="2269"/>
                </a:lnTo>
                <a:lnTo>
                  <a:pt x="527" y="2255"/>
                </a:lnTo>
                <a:lnTo>
                  <a:pt x="535" y="2241"/>
                </a:lnTo>
                <a:lnTo>
                  <a:pt x="541" y="2226"/>
                </a:lnTo>
                <a:lnTo>
                  <a:pt x="547" y="2210"/>
                </a:lnTo>
                <a:lnTo>
                  <a:pt x="550" y="2194"/>
                </a:lnTo>
                <a:lnTo>
                  <a:pt x="560" y="2138"/>
                </a:lnTo>
                <a:lnTo>
                  <a:pt x="569" y="2084"/>
                </a:lnTo>
                <a:lnTo>
                  <a:pt x="581" y="2030"/>
                </a:lnTo>
                <a:lnTo>
                  <a:pt x="594" y="1978"/>
                </a:lnTo>
                <a:lnTo>
                  <a:pt x="609" y="1926"/>
                </a:lnTo>
                <a:lnTo>
                  <a:pt x="624" y="1875"/>
                </a:lnTo>
                <a:lnTo>
                  <a:pt x="640" y="1825"/>
                </a:lnTo>
                <a:lnTo>
                  <a:pt x="657" y="1776"/>
                </a:lnTo>
                <a:lnTo>
                  <a:pt x="676" y="1728"/>
                </a:lnTo>
                <a:lnTo>
                  <a:pt x="696" y="1681"/>
                </a:lnTo>
                <a:lnTo>
                  <a:pt x="717" y="1635"/>
                </a:lnTo>
                <a:lnTo>
                  <a:pt x="739" y="1590"/>
                </a:lnTo>
                <a:lnTo>
                  <a:pt x="761" y="1546"/>
                </a:lnTo>
                <a:lnTo>
                  <a:pt x="785" y="1502"/>
                </a:lnTo>
                <a:lnTo>
                  <a:pt x="809" y="1460"/>
                </a:lnTo>
                <a:lnTo>
                  <a:pt x="835" y="1418"/>
                </a:lnTo>
                <a:lnTo>
                  <a:pt x="862" y="1377"/>
                </a:lnTo>
                <a:lnTo>
                  <a:pt x="890" y="1338"/>
                </a:lnTo>
                <a:lnTo>
                  <a:pt x="918" y="1299"/>
                </a:lnTo>
                <a:lnTo>
                  <a:pt x="948" y="1261"/>
                </a:lnTo>
                <a:lnTo>
                  <a:pt x="978" y="1224"/>
                </a:lnTo>
                <a:lnTo>
                  <a:pt x="1009" y="1189"/>
                </a:lnTo>
                <a:lnTo>
                  <a:pt x="1041" y="1153"/>
                </a:lnTo>
                <a:lnTo>
                  <a:pt x="1073" y="1119"/>
                </a:lnTo>
                <a:lnTo>
                  <a:pt x="1106" y="1086"/>
                </a:lnTo>
                <a:lnTo>
                  <a:pt x="1141" y="1053"/>
                </a:lnTo>
                <a:lnTo>
                  <a:pt x="1175" y="1022"/>
                </a:lnTo>
                <a:lnTo>
                  <a:pt x="1210" y="992"/>
                </a:lnTo>
                <a:lnTo>
                  <a:pt x="1247" y="962"/>
                </a:lnTo>
                <a:lnTo>
                  <a:pt x="1284" y="934"/>
                </a:lnTo>
                <a:lnTo>
                  <a:pt x="1322" y="907"/>
                </a:lnTo>
                <a:lnTo>
                  <a:pt x="1359" y="880"/>
                </a:lnTo>
                <a:lnTo>
                  <a:pt x="1377" y="889"/>
                </a:lnTo>
                <a:lnTo>
                  <a:pt x="1396" y="897"/>
                </a:lnTo>
                <a:lnTo>
                  <a:pt x="1414" y="904"/>
                </a:lnTo>
                <a:lnTo>
                  <a:pt x="1433" y="911"/>
                </a:lnTo>
                <a:lnTo>
                  <a:pt x="1453" y="916"/>
                </a:lnTo>
                <a:lnTo>
                  <a:pt x="1473" y="919"/>
                </a:lnTo>
                <a:lnTo>
                  <a:pt x="1492" y="922"/>
                </a:lnTo>
                <a:lnTo>
                  <a:pt x="1513" y="924"/>
                </a:lnTo>
                <a:lnTo>
                  <a:pt x="1533" y="924"/>
                </a:lnTo>
                <a:lnTo>
                  <a:pt x="1553" y="923"/>
                </a:lnTo>
                <a:lnTo>
                  <a:pt x="1574" y="921"/>
                </a:lnTo>
                <a:lnTo>
                  <a:pt x="1594" y="916"/>
                </a:lnTo>
                <a:lnTo>
                  <a:pt x="1614" y="912"/>
                </a:lnTo>
                <a:lnTo>
                  <a:pt x="1635" y="906"/>
                </a:lnTo>
                <a:lnTo>
                  <a:pt x="1654" y="898"/>
                </a:lnTo>
                <a:lnTo>
                  <a:pt x="1673" y="888"/>
                </a:lnTo>
                <a:close/>
                <a:moveTo>
                  <a:pt x="4977" y="2469"/>
                </a:moveTo>
                <a:lnTo>
                  <a:pt x="4786" y="2469"/>
                </a:lnTo>
                <a:lnTo>
                  <a:pt x="4786" y="4109"/>
                </a:lnTo>
                <a:lnTo>
                  <a:pt x="4977" y="4109"/>
                </a:lnTo>
                <a:lnTo>
                  <a:pt x="4999" y="4109"/>
                </a:lnTo>
                <a:lnTo>
                  <a:pt x="5021" y="4107"/>
                </a:lnTo>
                <a:lnTo>
                  <a:pt x="5043" y="4105"/>
                </a:lnTo>
                <a:lnTo>
                  <a:pt x="5064" y="4100"/>
                </a:lnTo>
                <a:lnTo>
                  <a:pt x="5084" y="4095"/>
                </a:lnTo>
                <a:lnTo>
                  <a:pt x="5105" y="4090"/>
                </a:lnTo>
                <a:lnTo>
                  <a:pt x="5125" y="4083"/>
                </a:lnTo>
                <a:lnTo>
                  <a:pt x="5144" y="4075"/>
                </a:lnTo>
                <a:lnTo>
                  <a:pt x="5164" y="4066"/>
                </a:lnTo>
                <a:lnTo>
                  <a:pt x="5183" y="4056"/>
                </a:lnTo>
                <a:lnTo>
                  <a:pt x="5200" y="4047"/>
                </a:lnTo>
                <a:lnTo>
                  <a:pt x="5218" y="4035"/>
                </a:lnTo>
                <a:lnTo>
                  <a:pt x="5236" y="4023"/>
                </a:lnTo>
                <a:lnTo>
                  <a:pt x="5252" y="4010"/>
                </a:lnTo>
                <a:lnTo>
                  <a:pt x="5268" y="3996"/>
                </a:lnTo>
                <a:lnTo>
                  <a:pt x="5283" y="3982"/>
                </a:lnTo>
                <a:lnTo>
                  <a:pt x="5297" y="3967"/>
                </a:lnTo>
                <a:lnTo>
                  <a:pt x="5311" y="3951"/>
                </a:lnTo>
                <a:lnTo>
                  <a:pt x="5323" y="3935"/>
                </a:lnTo>
                <a:lnTo>
                  <a:pt x="5335" y="3918"/>
                </a:lnTo>
                <a:lnTo>
                  <a:pt x="5346" y="3901"/>
                </a:lnTo>
                <a:lnTo>
                  <a:pt x="5357" y="3883"/>
                </a:lnTo>
                <a:lnTo>
                  <a:pt x="5366" y="3863"/>
                </a:lnTo>
                <a:lnTo>
                  <a:pt x="5375" y="3845"/>
                </a:lnTo>
                <a:lnTo>
                  <a:pt x="5382" y="3825"/>
                </a:lnTo>
                <a:lnTo>
                  <a:pt x="5390" y="3805"/>
                </a:lnTo>
                <a:lnTo>
                  <a:pt x="5395" y="3784"/>
                </a:lnTo>
                <a:lnTo>
                  <a:pt x="5401" y="3764"/>
                </a:lnTo>
                <a:lnTo>
                  <a:pt x="5404" y="3742"/>
                </a:lnTo>
                <a:lnTo>
                  <a:pt x="5407" y="3721"/>
                </a:lnTo>
                <a:lnTo>
                  <a:pt x="5408" y="3699"/>
                </a:lnTo>
                <a:lnTo>
                  <a:pt x="5409" y="3677"/>
                </a:lnTo>
                <a:lnTo>
                  <a:pt x="5409" y="2902"/>
                </a:lnTo>
                <a:lnTo>
                  <a:pt x="5408" y="2879"/>
                </a:lnTo>
                <a:lnTo>
                  <a:pt x="5407" y="2858"/>
                </a:lnTo>
                <a:lnTo>
                  <a:pt x="5404" y="2836"/>
                </a:lnTo>
                <a:lnTo>
                  <a:pt x="5401" y="2815"/>
                </a:lnTo>
                <a:lnTo>
                  <a:pt x="5395" y="2793"/>
                </a:lnTo>
                <a:lnTo>
                  <a:pt x="5390" y="2773"/>
                </a:lnTo>
                <a:lnTo>
                  <a:pt x="5382" y="2754"/>
                </a:lnTo>
                <a:lnTo>
                  <a:pt x="5375" y="2733"/>
                </a:lnTo>
                <a:lnTo>
                  <a:pt x="5366" y="2714"/>
                </a:lnTo>
                <a:lnTo>
                  <a:pt x="5357" y="2696"/>
                </a:lnTo>
                <a:lnTo>
                  <a:pt x="5346" y="2678"/>
                </a:lnTo>
                <a:lnTo>
                  <a:pt x="5335" y="2661"/>
                </a:lnTo>
                <a:lnTo>
                  <a:pt x="5323" y="2643"/>
                </a:lnTo>
                <a:lnTo>
                  <a:pt x="5311" y="2627"/>
                </a:lnTo>
                <a:lnTo>
                  <a:pt x="5297" y="2611"/>
                </a:lnTo>
                <a:lnTo>
                  <a:pt x="5283" y="2596"/>
                </a:lnTo>
                <a:lnTo>
                  <a:pt x="5268" y="2582"/>
                </a:lnTo>
                <a:lnTo>
                  <a:pt x="5252" y="2568"/>
                </a:lnTo>
                <a:lnTo>
                  <a:pt x="5236" y="2555"/>
                </a:lnTo>
                <a:lnTo>
                  <a:pt x="5218" y="2544"/>
                </a:lnTo>
                <a:lnTo>
                  <a:pt x="5200" y="2532"/>
                </a:lnTo>
                <a:lnTo>
                  <a:pt x="5183" y="2521"/>
                </a:lnTo>
                <a:lnTo>
                  <a:pt x="5164" y="2511"/>
                </a:lnTo>
                <a:lnTo>
                  <a:pt x="5144" y="2503"/>
                </a:lnTo>
                <a:lnTo>
                  <a:pt x="5125" y="2495"/>
                </a:lnTo>
                <a:lnTo>
                  <a:pt x="5105" y="2489"/>
                </a:lnTo>
                <a:lnTo>
                  <a:pt x="5084" y="2483"/>
                </a:lnTo>
                <a:lnTo>
                  <a:pt x="5064" y="2478"/>
                </a:lnTo>
                <a:lnTo>
                  <a:pt x="5043" y="2474"/>
                </a:lnTo>
                <a:lnTo>
                  <a:pt x="5021" y="2472"/>
                </a:lnTo>
                <a:lnTo>
                  <a:pt x="4999" y="2470"/>
                </a:lnTo>
                <a:lnTo>
                  <a:pt x="4977" y="2469"/>
                </a:lnTo>
                <a:close/>
                <a:moveTo>
                  <a:pt x="4446" y="2300"/>
                </a:moveTo>
                <a:lnTo>
                  <a:pt x="4446" y="2300"/>
                </a:lnTo>
                <a:lnTo>
                  <a:pt x="4465" y="2301"/>
                </a:lnTo>
                <a:lnTo>
                  <a:pt x="4484" y="2305"/>
                </a:lnTo>
                <a:lnTo>
                  <a:pt x="4503" y="2310"/>
                </a:lnTo>
                <a:lnTo>
                  <a:pt x="4522" y="2316"/>
                </a:lnTo>
                <a:lnTo>
                  <a:pt x="4539" y="2325"/>
                </a:lnTo>
                <a:lnTo>
                  <a:pt x="4555" y="2335"/>
                </a:lnTo>
                <a:lnTo>
                  <a:pt x="4570" y="2345"/>
                </a:lnTo>
                <a:lnTo>
                  <a:pt x="4584" y="2358"/>
                </a:lnTo>
                <a:lnTo>
                  <a:pt x="4597" y="2372"/>
                </a:lnTo>
                <a:lnTo>
                  <a:pt x="4607" y="2387"/>
                </a:lnTo>
                <a:lnTo>
                  <a:pt x="4617" y="2403"/>
                </a:lnTo>
                <a:lnTo>
                  <a:pt x="4626" y="2420"/>
                </a:lnTo>
                <a:lnTo>
                  <a:pt x="4632" y="2439"/>
                </a:lnTo>
                <a:lnTo>
                  <a:pt x="4637" y="2457"/>
                </a:lnTo>
                <a:lnTo>
                  <a:pt x="4641" y="2477"/>
                </a:lnTo>
                <a:lnTo>
                  <a:pt x="4641" y="2496"/>
                </a:lnTo>
                <a:lnTo>
                  <a:pt x="4641" y="4090"/>
                </a:lnTo>
                <a:lnTo>
                  <a:pt x="4641" y="4109"/>
                </a:lnTo>
                <a:lnTo>
                  <a:pt x="4637" y="4128"/>
                </a:lnTo>
                <a:lnTo>
                  <a:pt x="4632" y="4147"/>
                </a:lnTo>
                <a:lnTo>
                  <a:pt x="4626" y="4166"/>
                </a:lnTo>
                <a:lnTo>
                  <a:pt x="4617" y="4183"/>
                </a:lnTo>
                <a:lnTo>
                  <a:pt x="4607" y="4199"/>
                </a:lnTo>
                <a:lnTo>
                  <a:pt x="4597" y="4214"/>
                </a:lnTo>
                <a:lnTo>
                  <a:pt x="4584" y="4228"/>
                </a:lnTo>
                <a:lnTo>
                  <a:pt x="4570" y="4241"/>
                </a:lnTo>
                <a:lnTo>
                  <a:pt x="4555" y="4251"/>
                </a:lnTo>
                <a:lnTo>
                  <a:pt x="4539" y="4261"/>
                </a:lnTo>
                <a:lnTo>
                  <a:pt x="4522" y="4270"/>
                </a:lnTo>
                <a:lnTo>
                  <a:pt x="4503" y="4276"/>
                </a:lnTo>
                <a:lnTo>
                  <a:pt x="4484" y="4281"/>
                </a:lnTo>
                <a:lnTo>
                  <a:pt x="4465" y="4285"/>
                </a:lnTo>
                <a:lnTo>
                  <a:pt x="4446" y="4286"/>
                </a:lnTo>
                <a:lnTo>
                  <a:pt x="4175" y="4286"/>
                </a:lnTo>
                <a:lnTo>
                  <a:pt x="4155" y="4285"/>
                </a:lnTo>
                <a:lnTo>
                  <a:pt x="4136" y="4281"/>
                </a:lnTo>
                <a:lnTo>
                  <a:pt x="4117" y="4276"/>
                </a:lnTo>
                <a:lnTo>
                  <a:pt x="4099" y="4270"/>
                </a:lnTo>
                <a:lnTo>
                  <a:pt x="4082" y="4261"/>
                </a:lnTo>
                <a:lnTo>
                  <a:pt x="4066" y="4251"/>
                </a:lnTo>
                <a:lnTo>
                  <a:pt x="4051" y="4241"/>
                </a:lnTo>
                <a:lnTo>
                  <a:pt x="4037" y="4228"/>
                </a:lnTo>
                <a:lnTo>
                  <a:pt x="4024" y="4214"/>
                </a:lnTo>
                <a:lnTo>
                  <a:pt x="4014" y="4199"/>
                </a:lnTo>
                <a:lnTo>
                  <a:pt x="4003" y="4183"/>
                </a:lnTo>
                <a:lnTo>
                  <a:pt x="3995" y="4166"/>
                </a:lnTo>
                <a:lnTo>
                  <a:pt x="3989" y="4147"/>
                </a:lnTo>
                <a:lnTo>
                  <a:pt x="3983" y="4128"/>
                </a:lnTo>
                <a:lnTo>
                  <a:pt x="3980" y="4109"/>
                </a:lnTo>
                <a:lnTo>
                  <a:pt x="3979" y="4090"/>
                </a:lnTo>
                <a:lnTo>
                  <a:pt x="3979" y="2496"/>
                </a:lnTo>
                <a:lnTo>
                  <a:pt x="3980" y="2477"/>
                </a:lnTo>
                <a:lnTo>
                  <a:pt x="3983" y="2457"/>
                </a:lnTo>
                <a:lnTo>
                  <a:pt x="3989" y="2439"/>
                </a:lnTo>
                <a:lnTo>
                  <a:pt x="3995" y="2420"/>
                </a:lnTo>
                <a:lnTo>
                  <a:pt x="4003" y="2403"/>
                </a:lnTo>
                <a:lnTo>
                  <a:pt x="4014" y="2387"/>
                </a:lnTo>
                <a:lnTo>
                  <a:pt x="4024" y="2372"/>
                </a:lnTo>
                <a:lnTo>
                  <a:pt x="4037" y="2358"/>
                </a:lnTo>
                <a:lnTo>
                  <a:pt x="4051" y="2345"/>
                </a:lnTo>
                <a:lnTo>
                  <a:pt x="4066" y="2335"/>
                </a:lnTo>
                <a:lnTo>
                  <a:pt x="4082" y="2325"/>
                </a:lnTo>
                <a:lnTo>
                  <a:pt x="4099" y="2316"/>
                </a:lnTo>
                <a:lnTo>
                  <a:pt x="4117" y="2310"/>
                </a:lnTo>
                <a:lnTo>
                  <a:pt x="4136" y="2305"/>
                </a:lnTo>
                <a:lnTo>
                  <a:pt x="4155" y="2301"/>
                </a:lnTo>
                <a:lnTo>
                  <a:pt x="4175" y="2300"/>
                </a:lnTo>
                <a:lnTo>
                  <a:pt x="4446" y="2300"/>
                </a:lnTo>
                <a:close/>
                <a:moveTo>
                  <a:pt x="432" y="2469"/>
                </a:moveTo>
                <a:lnTo>
                  <a:pt x="623" y="2469"/>
                </a:lnTo>
                <a:lnTo>
                  <a:pt x="623" y="4109"/>
                </a:lnTo>
                <a:lnTo>
                  <a:pt x="432" y="4109"/>
                </a:lnTo>
                <a:lnTo>
                  <a:pt x="411" y="4109"/>
                </a:lnTo>
                <a:lnTo>
                  <a:pt x="388" y="4107"/>
                </a:lnTo>
                <a:lnTo>
                  <a:pt x="367" y="4105"/>
                </a:lnTo>
                <a:lnTo>
                  <a:pt x="345" y="4100"/>
                </a:lnTo>
                <a:lnTo>
                  <a:pt x="325" y="4095"/>
                </a:lnTo>
                <a:lnTo>
                  <a:pt x="304" y="4090"/>
                </a:lnTo>
                <a:lnTo>
                  <a:pt x="284" y="4083"/>
                </a:lnTo>
                <a:lnTo>
                  <a:pt x="265" y="4075"/>
                </a:lnTo>
                <a:lnTo>
                  <a:pt x="245" y="4066"/>
                </a:lnTo>
                <a:lnTo>
                  <a:pt x="226" y="4056"/>
                </a:lnTo>
                <a:lnTo>
                  <a:pt x="209" y="4047"/>
                </a:lnTo>
                <a:lnTo>
                  <a:pt x="191" y="4035"/>
                </a:lnTo>
                <a:lnTo>
                  <a:pt x="174" y="4023"/>
                </a:lnTo>
                <a:lnTo>
                  <a:pt x="158" y="4010"/>
                </a:lnTo>
                <a:lnTo>
                  <a:pt x="142" y="3996"/>
                </a:lnTo>
                <a:lnTo>
                  <a:pt x="126" y="3982"/>
                </a:lnTo>
                <a:lnTo>
                  <a:pt x="113" y="3967"/>
                </a:lnTo>
                <a:lnTo>
                  <a:pt x="99" y="3951"/>
                </a:lnTo>
                <a:lnTo>
                  <a:pt x="86" y="3935"/>
                </a:lnTo>
                <a:lnTo>
                  <a:pt x="74" y="3918"/>
                </a:lnTo>
                <a:lnTo>
                  <a:pt x="63" y="3901"/>
                </a:lnTo>
                <a:lnTo>
                  <a:pt x="53" y="3883"/>
                </a:lnTo>
                <a:lnTo>
                  <a:pt x="43" y="3863"/>
                </a:lnTo>
                <a:lnTo>
                  <a:pt x="34" y="3845"/>
                </a:lnTo>
                <a:lnTo>
                  <a:pt x="27" y="3825"/>
                </a:lnTo>
                <a:lnTo>
                  <a:pt x="19" y="3805"/>
                </a:lnTo>
                <a:lnTo>
                  <a:pt x="14" y="3784"/>
                </a:lnTo>
                <a:lnTo>
                  <a:pt x="9" y="3764"/>
                </a:lnTo>
                <a:lnTo>
                  <a:pt x="5" y="3742"/>
                </a:lnTo>
                <a:lnTo>
                  <a:pt x="2" y="3721"/>
                </a:lnTo>
                <a:lnTo>
                  <a:pt x="1" y="3699"/>
                </a:lnTo>
                <a:lnTo>
                  <a:pt x="0" y="3677"/>
                </a:lnTo>
                <a:lnTo>
                  <a:pt x="0" y="2902"/>
                </a:lnTo>
                <a:lnTo>
                  <a:pt x="1" y="2879"/>
                </a:lnTo>
                <a:lnTo>
                  <a:pt x="2" y="2858"/>
                </a:lnTo>
                <a:lnTo>
                  <a:pt x="5" y="2836"/>
                </a:lnTo>
                <a:lnTo>
                  <a:pt x="9" y="2815"/>
                </a:lnTo>
                <a:lnTo>
                  <a:pt x="14" y="2793"/>
                </a:lnTo>
                <a:lnTo>
                  <a:pt x="19" y="2773"/>
                </a:lnTo>
                <a:lnTo>
                  <a:pt x="27" y="2754"/>
                </a:lnTo>
                <a:lnTo>
                  <a:pt x="34" y="2733"/>
                </a:lnTo>
                <a:lnTo>
                  <a:pt x="43" y="2714"/>
                </a:lnTo>
                <a:lnTo>
                  <a:pt x="53" y="2696"/>
                </a:lnTo>
                <a:lnTo>
                  <a:pt x="63" y="2678"/>
                </a:lnTo>
                <a:lnTo>
                  <a:pt x="74" y="2661"/>
                </a:lnTo>
                <a:lnTo>
                  <a:pt x="86" y="2643"/>
                </a:lnTo>
                <a:lnTo>
                  <a:pt x="99" y="2627"/>
                </a:lnTo>
                <a:lnTo>
                  <a:pt x="113" y="2611"/>
                </a:lnTo>
                <a:lnTo>
                  <a:pt x="126" y="2596"/>
                </a:lnTo>
                <a:lnTo>
                  <a:pt x="142" y="2582"/>
                </a:lnTo>
                <a:lnTo>
                  <a:pt x="158" y="2568"/>
                </a:lnTo>
                <a:lnTo>
                  <a:pt x="174" y="2555"/>
                </a:lnTo>
                <a:lnTo>
                  <a:pt x="191" y="2544"/>
                </a:lnTo>
                <a:lnTo>
                  <a:pt x="209" y="2532"/>
                </a:lnTo>
                <a:lnTo>
                  <a:pt x="226" y="2521"/>
                </a:lnTo>
                <a:lnTo>
                  <a:pt x="245" y="2511"/>
                </a:lnTo>
                <a:lnTo>
                  <a:pt x="265" y="2503"/>
                </a:lnTo>
                <a:lnTo>
                  <a:pt x="284" y="2495"/>
                </a:lnTo>
                <a:lnTo>
                  <a:pt x="304" y="2489"/>
                </a:lnTo>
                <a:lnTo>
                  <a:pt x="325" y="2483"/>
                </a:lnTo>
                <a:lnTo>
                  <a:pt x="345" y="2478"/>
                </a:lnTo>
                <a:lnTo>
                  <a:pt x="367" y="2474"/>
                </a:lnTo>
                <a:lnTo>
                  <a:pt x="388" y="2472"/>
                </a:lnTo>
                <a:lnTo>
                  <a:pt x="411" y="2470"/>
                </a:lnTo>
                <a:lnTo>
                  <a:pt x="432" y="2469"/>
                </a:lnTo>
                <a:close/>
                <a:moveTo>
                  <a:pt x="441" y="2787"/>
                </a:moveTo>
                <a:lnTo>
                  <a:pt x="408" y="2624"/>
                </a:lnTo>
                <a:lnTo>
                  <a:pt x="382" y="2630"/>
                </a:lnTo>
                <a:lnTo>
                  <a:pt x="355" y="2638"/>
                </a:lnTo>
                <a:lnTo>
                  <a:pt x="328" y="2647"/>
                </a:lnTo>
                <a:lnTo>
                  <a:pt x="303" y="2658"/>
                </a:lnTo>
                <a:lnTo>
                  <a:pt x="278" y="2671"/>
                </a:lnTo>
                <a:lnTo>
                  <a:pt x="254" y="2685"/>
                </a:lnTo>
                <a:lnTo>
                  <a:pt x="232" y="2702"/>
                </a:lnTo>
                <a:lnTo>
                  <a:pt x="210" y="2721"/>
                </a:lnTo>
                <a:lnTo>
                  <a:pt x="193" y="2739"/>
                </a:lnTo>
                <a:lnTo>
                  <a:pt x="177" y="2758"/>
                </a:lnTo>
                <a:lnTo>
                  <a:pt x="162" y="2780"/>
                </a:lnTo>
                <a:lnTo>
                  <a:pt x="149" y="2802"/>
                </a:lnTo>
                <a:lnTo>
                  <a:pt x="138" y="2827"/>
                </a:lnTo>
                <a:lnTo>
                  <a:pt x="129" y="2852"/>
                </a:lnTo>
                <a:lnTo>
                  <a:pt x="121" y="2880"/>
                </a:lnTo>
                <a:lnTo>
                  <a:pt x="116" y="2910"/>
                </a:lnTo>
                <a:lnTo>
                  <a:pt x="115" y="2918"/>
                </a:lnTo>
                <a:lnTo>
                  <a:pt x="115" y="2921"/>
                </a:lnTo>
                <a:lnTo>
                  <a:pt x="115" y="3577"/>
                </a:lnTo>
                <a:lnTo>
                  <a:pt x="282" y="3577"/>
                </a:lnTo>
                <a:lnTo>
                  <a:pt x="282" y="2926"/>
                </a:lnTo>
                <a:lnTo>
                  <a:pt x="284" y="2912"/>
                </a:lnTo>
                <a:lnTo>
                  <a:pt x="287" y="2900"/>
                </a:lnTo>
                <a:lnTo>
                  <a:pt x="293" y="2888"/>
                </a:lnTo>
                <a:lnTo>
                  <a:pt x="297" y="2877"/>
                </a:lnTo>
                <a:lnTo>
                  <a:pt x="303" y="2867"/>
                </a:lnTo>
                <a:lnTo>
                  <a:pt x="310" y="2858"/>
                </a:lnTo>
                <a:lnTo>
                  <a:pt x="317" y="2849"/>
                </a:lnTo>
                <a:lnTo>
                  <a:pt x="325" y="2841"/>
                </a:lnTo>
                <a:lnTo>
                  <a:pt x="337" y="2831"/>
                </a:lnTo>
                <a:lnTo>
                  <a:pt x="349" y="2821"/>
                </a:lnTo>
                <a:lnTo>
                  <a:pt x="363" y="2814"/>
                </a:lnTo>
                <a:lnTo>
                  <a:pt x="377" y="2806"/>
                </a:lnTo>
                <a:lnTo>
                  <a:pt x="392" y="2800"/>
                </a:lnTo>
                <a:lnTo>
                  <a:pt x="408" y="2795"/>
                </a:lnTo>
                <a:lnTo>
                  <a:pt x="425" y="2790"/>
                </a:lnTo>
                <a:lnTo>
                  <a:pt x="441" y="2787"/>
                </a:lnTo>
                <a:close/>
              </a:path>
            </a:pathLst>
          </a:custGeom>
          <a:solidFill>
            <a:schemeClr val="bg1"/>
          </a:solidFill>
          <a:ln>
            <a:noFill/>
          </a:ln>
        </p:spPr>
        <p:txBody>
          <a:bodyPr anchor="ctr"/>
          <a:lstStyle>
            <a:defPPr>
              <a:defRPr lang="zh-CN"/>
            </a:defPPr>
            <a:lvl1pPr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a:ea typeface="宋体" panose="02010600030101010101" pitchFamily="2" charset="-122"/>
                <a:cs typeface="+mn-cs"/>
              </a:defRPr>
            </a:lvl5pPr>
            <a:lvl6pPr marL="2286000" algn="l" defTabSz="914400" rtl="0" eaLnBrk="1" latinLnBrk="0" hangingPunct="1">
              <a:defRPr kern="1200">
                <a:solidFill>
                  <a:schemeClr val="tx1"/>
                </a:solidFill>
                <a:latin typeface="Calibri"/>
                <a:ea typeface="宋体" panose="02010600030101010101" pitchFamily="2" charset="-122"/>
                <a:cs typeface="+mn-cs"/>
              </a:defRPr>
            </a:lvl6pPr>
            <a:lvl7pPr marL="2743200" algn="l" defTabSz="914400" rtl="0" eaLnBrk="1" latinLnBrk="0" hangingPunct="1">
              <a:defRPr kern="1200">
                <a:solidFill>
                  <a:schemeClr val="tx1"/>
                </a:solidFill>
                <a:latin typeface="Calibri"/>
                <a:ea typeface="宋体" panose="02010600030101010101" pitchFamily="2" charset="-122"/>
                <a:cs typeface="+mn-cs"/>
              </a:defRPr>
            </a:lvl7pPr>
            <a:lvl8pPr marL="3200400" algn="l" defTabSz="914400" rtl="0" eaLnBrk="1" latinLnBrk="0" hangingPunct="1">
              <a:defRPr kern="1200">
                <a:solidFill>
                  <a:schemeClr val="tx1"/>
                </a:solidFill>
                <a:latin typeface="Calibri"/>
                <a:ea typeface="宋体" panose="02010600030101010101" pitchFamily="2" charset="-122"/>
                <a:cs typeface="+mn-cs"/>
              </a:defRPr>
            </a:lvl8pPr>
            <a:lvl9pPr marL="3657600" algn="l" defTabSz="914400" rtl="0" eaLnBrk="1" latinLnBrk="0" hangingPunct="1">
              <a:defRPr kern="1200">
                <a:solidFill>
                  <a:schemeClr val="tx1"/>
                </a:solidFill>
                <a:latin typeface="Calibri"/>
                <a:ea typeface="宋体" panose="02010600030101010101" pitchFamily="2" charset="-122"/>
                <a:cs typeface="+mn-cs"/>
              </a:defRPr>
            </a:lvl9pPr>
          </a:lstStyle>
          <a:p>
            <a:endParaRPr lang="zh-CN" altLang="en-US" sz="2400">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par>
                          <p:cTn id="8" fill="hold" nodeType="afterGroup">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500" fill="hold"/>
                                        <p:tgtEl>
                                          <p:spTgt spid="10"/>
                                        </p:tgtEl>
                                        <p:attrNameLst>
                                          <p:attrName>ppt_w</p:attrName>
                                        </p:attrNameLst>
                                      </p:cBhvr>
                                      <p:tavLst>
                                        <p:tav tm="0">
                                          <p:val>
                                            <p:fltVal val="0"/>
                                          </p:val>
                                        </p:tav>
                                        <p:tav tm="100000">
                                          <p:val>
                                            <p:strVal val="#ppt_w"/>
                                          </p:val>
                                        </p:tav>
                                      </p:tavLst>
                                    </p:anim>
                                    <p:anim calcmode="lin" valueType="num">
                                      <p:cBhvr>
                                        <p:cTn id="12" dur="500" fill="hold"/>
                                        <p:tgtEl>
                                          <p:spTgt spid="10"/>
                                        </p:tgtEl>
                                        <p:attrNameLst>
                                          <p:attrName>ppt_h</p:attrName>
                                        </p:attrNameLst>
                                      </p:cBhvr>
                                      <p:tavLst>
                                        <p:tav tm="0">
                                          <p:val>
                                            <p:fltVal val="0"/>
                                          </p:val>
                                        </p:tav>
                                        <p:tav tm="100000">
                                          <p:val>
                                            <p:strVal val="#ppt_h"/>
                                          </p:val>
                                        </p:tav>
                                      </p:tavLst>
                                    </p:anim>
                                    <p:animEffect transition="in" filter="fade">
                                      <p:cBhvr>
                                        <p:cTn id="13" dur="500"/>
                                        <p:tgtEl>
                                          <p:spTgt spid="10"/>
                                        </p:tgtEl>
                                      </p:cBhvr>
                                    </p:animEffect>
                                  </p:childTnLst>
                                </p:cTn>
                              </p:par>
                            </p:childTnLst>
                          </p:cTn>
                        </p:par>
                        <p:par>
                          <p:cTn id="14" fill="hold" nodeType="afterGroup">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500" fill="hold"/>
                                        <p:tgtEl>
                                          <p:spTgt spid="11"/>
                                        </p:tgtEl>
                                        <p:attrNameLst>
                                          <p:attrName>ppt_w</p:attrName>
                                        </p:attrNameLst>
                                      </p:cBhvr>
                                      <p:tavLst>
                                        <p:tav tm="0">
                                          <p:val>
                                            <p:fltVal val="0"/>
                                          </p:val>
                                        </p:tav>
                                        <p:tav tm="100000">
                                          <p:val>
                                            <p:strVal val="#ppt_w"/>
                                          </p:val>
                                        </p:tav>
                                      </p:tavLst>
                                    </p:anim>
                                    <p:anim calcmode="lin" valueType="num">
                                      <p:cBhvr>
                                        <p:cTn id="18" dur="500" fill="hold"/>
                                        <p:tgtEl>
                                          <p:spTgt spid="11"/>
                                        </p:tgtEl>
                                        <p:attrNameLst>
                                          <p:attrName>ppt_h</p:attrName>
                                        </p:attrNameLst>
                                      </p:cBhvr>
                                      <p:tavLst>
                                        <p:tav tm="0">
                                          <p:val>
                                            <p:fltVal val="0"/>
                                          </p:val>
                                        </p:tav>
                                        <p:tav tm="100000">
                                          <p:val>
                                            <p:strVal val="#ppt_h"/>
                                          </p:val>
                                        </p:tav>
                                      </p:tavLst>
                                    </p:anim>
                                    <p:animEffect transition="in" filter="fade">
                                      <p:cBhvr>
                                        <p:cTn id="19" dur="500"/>
                                        <p:tgtEl>
                                          <p:spTgt spid="11"/>
                                        </p:tgtEl>
                                      </p:cBhvr>
                                    </p:animEffect>
                                  </p:childTnLst>
                                </p:cTn>
                              </p:par>
                            </p:childTnLst>
                          </p:cTn>
                        </p:par>
                        <p:par>
                          <p:cTn id="20" fill="hold" nodeType="afterGroup">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p:cTn id="23" dur="500" fill="hold"/>
                                        <p:tgtEl>
                                          <p:spTgt spid="12"/>
                                        </p:tgtEl>
                                        <p:attrNameLst>
                                          <p:attrName>ppt_w</p:attrName>
                                        </p:attrNameLst>
                                      </p:cBhvr>
                                      <p:tavLst>
                                        <p:tav tm="0">
                                          <p:val>
                                            <p:fltVal val="0"/>
                                          </p:val>
                                        </p:tav>
                                        <p:tav tm="100000">
                                          <p:val>
                                            <p:strVal val="#ppt_w"/>
                                          </p:val>
                                        </p:tav>
                                      </p:tavLst>
                                    </p:anim>
                                    <p:anim calcmode="lin" valueType="num">
                                      <p:cBhvr>
                                        <p:cTn id="24" dur="500" fill="hold"/>
                                        <p:tgtEl>
                                          <p:spTgt spid="12"/>
                                        </p:tgtEl>
                                        <p:attrNameLst>
                                          <p:attrName>ppt_h</p:attrName>
                                        </p:attrNameLst>
                                      </p:cBhvr>
                                      <p:tavLst>
                                        <p:tav tm="0">
                                          <p:val>
                                            <p:fltVal val="0"/>
                                          </p:val>
                                        </p:tav>
                                        <p:tav tm="100000">
                                          <p:val>
                                            <p:strVal val="#ppt_h"/>
                                          </p:val>
                                        </p:tav>
                                      </p:tavLst>
                                    </p:anim>
                                    <p:animEffect transition="in" filter="fade">
                                      <p:cBhvr>
                                        <p:cTn id="25" dur="500"/>
                                        <p:tgtEl>
                                          <p:spTgt spid="12"/>
                                        </p:tgtEl>
                                      </p:cBhvr>
                                    </p:animEffect>
                                  </p:childTnLst>
                                </p:cTn>
                              </p:par>
                            </p:childTnLst>
                          </p:cTn>
                        </p:par>
                        <p:par>
                          <p:cTn id="26" fill="hold" nodeType="afterGroup">
                            <p:stCondLst>
                              <p:cond delay="2000"/>
                            </p:stCondLst>
                            <p:childTnLst>
                              <p:par>
                                <p:cTn id="27" presetID="53" presetClass="entr" presetSubtype="16"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p:cTn id="29" dur="500" fill="hold"/>
                                        <p:tgtEl>
                                          <p:spTgt spid="13"/>
                                        </p:tgtEl>
                                        <p:attrNameLst>
                                          <p:attrName>ppt_w</p:attrName>
                                        </p:attrNameLst>
                                      </p:cBhvr>
                                      <p:tavLst>
                                        <p:tav tm="0">
                                          <p:val>
                                            <p:fltVal val="0"/>
                                          </p:val>
                                        </p:tav>
                                        <p:tav tm="100000">
                                          <p:val>
                                            <p:strVal val="#ppt_w"/>
                                          </p:val>
                                        </p:tav>
                                      </p:tavLst>
                                    </p:anim>
                                    <p:anim calcmode="lin" valueType="num">
                                      <p:cBhvr>
                                        <p:cTn id="30" dur="500" fill="hold"/>
                                        <p:tgtEl>
                                          <p:spTgt spid="13"/>
                                        </p:tgtEl>
                                        <p:attrNameLst>
                                          <p:attrName>ppt_h</p:attrName>
                                        </p:attrNameLst>
                                      </p:cBhvr>
                                      <p:tavLst>
                                        <p:tav tm="0">
                                          <p:val>
                                            <p:fltVal val="0"/>
                                          </p:val>
                                        </p:tav>
                                        <p:tav tm="100000">
                                          <p:val>
                                            <p:strVal val="#ppt_h"/>
                                          </p:val>
                                        </p:tav>
                                      </p:tavLst>
                                    </p:anim>
                                    <p:animEffect transition="in" filter="fade">
                                      <p:cBhvr>
                                        <p:cTn id="31" dur="500"/>
                                        <p:tgtEl>
                                          <p:spTgt spid="13"/>
                                        </p:tgtEl>
                                      </p:cBhvr>
                                    </p:animEffect>
                                  </p:childTnLst>
                                </p:cTn>
                              </p:par>
                            </p:childTnLst>
                          </p:cTn>
                        </p:par>
                        <p:par>
                          <p:cTn id="32" fill="hold" nodeType="afterGroup">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childTnLst>
                          </p:cTn>
                        </p:par>
                        <p:par>
                          <p:cTn id="36" fill="hold" nodeType="afterGroup">
                            <p:stCondLst>
                              <p:cond delay="3000"/>
                            </p:stCondLst>
                            <p:childTnLst>
                              <p:par>
                                <p:cTn id="37" presetID="37"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anim calcmode="lin" valueType="num">
                                      <p:cBhvr>
                                        <p:cTn id="40" dur="500" fill="hold"/>
                                        <p:tgtEl>
                                          <p:spTgt spid="19"/>
                                        </p:tgtEl>
                                        <p:attrNameLst>
                                          <p:attrName>ppt_x</p:attrName>
                                        </p:attrNameLst>
                                      </p:cBhvr>
                                      <p:tavLst>
                                        <p:tav tm="0">
                                          <p:val>
                                            <p:strVal val="#ppt_x"/>
                                          </p:val>
                                        </p:tav>
                                        <p:tav tm="100000">
                                          <p:val>
                                            <p:strVal val="#ppt_x"/>
                                          </p:val>
                                        </p:tav>
                                      </p:tavLst>
                                    </p:anim>
                                    <p:anim calcmode="lin" valueType="num">
                                      <p:cBhvr>
                                        <p:cTn id="41" dur="450" decel="100000" fill="hold"/>
                                        <p:tgtEl>
                                          <p:spTgt spid="19"/>
                                        </p:tgtEl>
                                        <p:attrNameLst>
                                          <p:attrName>ppt_y</p:attrName>
                                        </p:attrNameLst>
                                      </p:cBhvr>
                                      <p:tavLst>
                                        <p:tav tm="0">
                                          <p:val>
                                            <p:strVal val="#ppt_y+1"/>
                                          </p:val>
                                        </p:tav>
                                        <p:tav tm="100000">
                                          <p:val>
                                            <p:strVal val="#ppt_y-.03"/>
                                          </p:val>
                                        </p:tav>
                                      </p:tavLst>
                                    </p:anim>
                                    <p:anim calcmode="lin" valueType="num">
                                      <p:cBhvr>
                                        <p:cTn id="42" dur="50" accel="100000" fill="hold">
                                          <p:stCondLst>
                                            <p:cond delay="450"/>
                                          </p:stCondLst>
                                        </p:cTn>
                                        <p:tgtEl>
                                          <p:spTgt spid="19"/>
                                        </p:tgtEl>
                                        <p:attrNameLst>
                                          <p:attrName>ppt_y</p:attrName>
                                        </p:attrNameLst>
                                      </p:cBhvr>
                                      <p:tavLst>
                                        <p:tav tm="0">
                                          <p:val>
                                            <p:strVal val="#ppt_y-.03"/>
                                          </p:val>
                                        </p:tav>
                                        <p:tav tm="100000">
                                          <p:val>
                                            <p:strVal val="#ppt_y"/>
                                          </p:val>
                                        </p:tav>
                                      </p:tavLst>
                                    </p:anim>
                                  </p:childTnLst>
                                </p:cTn>
                              </p:par>
                            </p:childTnLst>
                          </p:cTn>
                        </p:par>
                        <p:par>
                          <p:cTn id="43" fill="hold" nodeType="afterGroup">
                            <p:stCondLst>
                              <p:cond delay="3500"/>
                            </p:stCondLst>
                            <p:childTnLst>
                              <p:par>
                                <p:cTn id="44" presetID="10" presetClass="entr" presetSubtype="0" fill="hold" grpId="0"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nodeType="afterGroup">
                            <p:stCondLst>
                              <p:cond delay="4000"/>
                            </p:stCondLst>
                            <p:childTnLst>
                              <p:par>
                                <p:cTn id="48" presetID="37" presetClass="entr" presetSubtype="0" fill="hold" nodeType="after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anim calcmode="lin" valueType="num">
                                      <p:cBhvr>
                                        <p:cTn id="51" dur="500" fill="hold"/>
                                        <p:tgtEl>
                                          <p:spTgt spid="25"/>
                                        </p:tgtEl>
                                        <p:attrNameLst>
                                          <p:attrName>ppt_x</p:attrName>
                                        </p:attrNameLst>
                                      </p:cBhvr>
                                      <p:tavLst>
                                        <p:tav tm="0">
                                          <p:val>
                                            <p:strVal val="#ppt_x"/>
                                          </p:val>
                                        </p:tav>
                                        <p:tav tm="100000">
                                          <p:val>
                                            <p:strVal val="#ppt_x"/>
                                          </p:val>
                                        </p:tav>
                                      </p:tavLst>
                                    </p:anim>
                                    <p:anim calcmode="lin" valueType="num">
                                      <p:cBhvr>
                                        <p:cTn id="52" dur="450" decel="100000" fill="hold"/>
                                        <p:tgtEl>
                                          <p:spTgt spid="25"/>
                                        </p:tgtEl>
                                        <p:attrNameLst>
                                          <p:attrName>ppt_y</p:attrName>
                                        </p:attrNameLst>
                                      </p:cBhvr>
                                      <p:tavLst>
                                        <p:tav tm="0">
                                          <p:val>
                                            <p:strVal val="#ppt_y+1"/>
                                          </p:val>
                                        </p:tav>
                                        <p:tav tm="100000">
                                          <p:val>
                                            <p:strVal val="#ppt_y-.03"/>
                                          </p:val>
                                        </p:tav>
                                      </p:tavLst>
                                    </p:anim>
                                    <p:anim calcmode="lin" valueType="num">
                                      <p:cBhvr>
                                        <p:cTn id="53" dur="50" accel="100000" fill="hold">
                                          <p:stCondLst>
                                            <p:cond delay="450"/>
                                          </p:stCondLst>
                                        </p:cTn>
                                        <p:tgtEl>
                                          <p:spTgt spid="25"/>
                                        </p:tgtEl>
                                        <p:attrNameLst>
                                          <p:attrName>ppt_y</p:attrName>
                                        </p:attrNameLst>
                                      </p:cBhvr>
                                      <p:tavLst>
                                        <p:tav tm="0">
                                          <p:val>
                                            <p:strVal val="#ppt_y-.03"/>
                                          </p:val>
                                        </p:tav>
                                        <p:tav tm="100000">
                                          <p:val>
                                            <p:strVal val="#ppt_y"/>
                                          </p:val>
                                        </p:tav>
                                      </p:tavLst>
                                    </p:anim>
                                  </p:childTnLst>
                                </p:cTn>
                              </p:par>
                            </p:childTnLst>
                          </p:cTn>
                        </p:par>
                        <p:par>
                          <p:cTn id="54" fill="hold" nodeType="afterGroup">
                            <p:stCondLst>
                              <p:cond delay="4500"/>
                            </p:stCondLst>
                            <p:childTnLst>
                              <p:par>
                                <p:cTn id="55" presetID="10" presetClass="entr" presetSubtype="0" fill="hold" grpId="0"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childTnLst>
                          </p:cTn>
                        </p:par>
                        <p:par>
                          <p:cTn id="58" fill="hold" nodeType="afterGroup">
                            <p:stCondLst>
                              <p:cond delay="5000"/>
                            </p:stCondLst>
                            <p:childTnLst>
                              <p:par>
                                <p:cTn id="59" presetID="37" presetClass="entr" presetSubtype="0" fill="hold" nodeType="afterEffect">
                                  <p:stCondLst>
                                    <p:cond delay="0"/>
                                  </p:stCondLst>
                                  <p:childTnLst>
                                    <p:set>
                                      <p:cBhvr>
                                        <p:cTn id="60" dur="1" fill="hold">
                                          <p:stCondLst>
                                            <p:cond delay="0"/>
                                          </p:stCondLst>
                                        </p:cTn>
                                        <p:tgtEl>
                                          <p:spTgt spid="28"/>
                                        </p:tgtEl>
                                        <p:attrNameLst>
                                          <p:attrName>style.visibility</p:attrName>
                                        </p:attrNameLst>
                                      </p:cBhvr>
                                      <p:to>
                                        <p:strVal val="visible"/>
                                      </p:to>
                                    </p:set>
                                    <p:animEffect transition="in" filter="fade">
                                      <p:cBhvr>
                                        <p:cTn id="61" dur="500"/>
                                        <p:tgtEl>
                                          <p:spTgt spid="28"/>
                                        </p:tgtEl>
                                      </p:cBhvr>
                                    </p:animEffect>
                                    <p:anim calcmode="lin" valueType="num">
                                      <p:cBhvr>
                                        <p:cTn id="62" dur="500" fill="hold"/>
                                        <p:tgtEl>
                                          <p:spTgt spid="28"/>
                                        </p:tgtEl>
                                        <p:attrNameLst>
                                          <p:attrName>ppt_x</p:attrName>
                                        </p:attrNameLst>
                                      </p:cBhvr>
                                      <p:tavLst>
                                        <p:tav tm="0">
                                          <p:val>
                                            <p:strVal val="#ppt_x"/>
                                          </p:val>
                                        </p:tav>
                                        <p:tav tm="100000">
                                          <p:val>
                                            <p:strVal val="#ppt_x"/>
                                          </p:val>
                                        </p:tav>
                                      </p:tavLst>
                                    </p:anim>
                                    <p:anim calcmode="lin" valueType="num">
                                      <p:cBhvr>
                                        <p:cTn id="63" dur="450" decel="100000" fill="hold"/>
                                        <p:tgtEl>
                                          <p:spTgt spid="28"/>
                                        </p:tgtEl>
                                        <p:attrNameLst>
                                          <p:attrName>ppt_y</p:attrName>
                                        </p:attrNameLst>
                                      </p:cBhvr>
                                      <p:tavLst>
                                        <p:tav tm="0">
                                          <p:val>
                                            <p:strVal val="#ppt_y+1"/>
                                          </p:val>
                                        </p:tav>
                                        <p:tav tm="100000">
                                          <p:val>
                                            <p:strVal val="#ppt_y-.03"/>
                                          </p:val>
                                        </p:tav>
                                      </p:tavLst>
                                    </p:anim>
                                    <p:anim calcmode="lin" valueType="num">
                                      <p:cBhvr>
                                        <p:cTn id="64" dur="50" accel="100000" fill="hold">
                                          <p:stCondLst>
                                            <p:cond delay="450"/>
                                          </p:stCondLst>
                                        </p:cTn>
                                        <p:tgtEl>
                                          <p:spTgt spid="28"/>
                                        </p:tgtEl>
                                        <p:attrNameLst>
                                          <p:attrName>ppt_y</p:attrName>
                                        </p:attrNameLst>
                                      </p:cBhvr>
                                      <p:tavLst>
                                        <p:tav tm="0">
                                          <p:val>
                                            <p:strVal val="#ppt_y-.03"/>
                                          </p:val>
                                        </p:tav>
                                        <p:tav tm="100000">
                                          <p:val>
                                            <p:strVal val="#ppt_y"/>
                                          </p:val>
                                        </p:tav>
                                      </p:tavLst>
                                    </p:anim>
                                  </p:childTnLst>
                                </p:cTn>
                              </p:par>
                            </p:childTnLst>
                          </p:cTn>
                        </p:par>
                        <p:par>
                          <p:cTn id="65" fill="hold" nodeType="afterGroup">
                            <p:stCondLst>
                              <p:cond delay="5500"/>
                            </p:stCondLst>
                            <p:childTnLst>
                              <p:par>
                                <p:cTn id="66" presetID="10" presetClass="entr" presetSubtype="0" fill="hold" grpId="0" nodeType="after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500"/>
                                        <p:tgtEl>
                                          <p:spTgt spid="17"/>
                                        </p:tgtEl>
                                      </p:cBhvr>
                                    </p:animEffect>
                                  </p:childTnLst>
                                </p:cTn>
                              </p:par>
                            </p:childTnLst>
                          </p:cTn>
                        </p:par>
                        <p:par>
                          <p:cTn id="69" fill="hold" nodeType="afterGroup">
                            <p:stCondLst>
                              <p:cond delay="6000"/>
                            </p:stCondLst>
                            <p:childTnLst>
                              <p:par>
                                <p:cTn id="70" presetID="37" presetClass="entr" presetSubtype="0" fill="hold" nodeType="afterEffect">
                                  <p:stCondLst>
                                    <p:cond delay="0"/>
                                  </p:stCondLst>
                                  <p:childTnLst>
                                    <p:set>
                                      <p:cBhvr>
                                        <p:cTn id="71" dur="1" fill="hold">
                                          <p:stCondLst>
                                            <p:cond delay="0"/>
                                          </p:stCondLst>
                                        </p:cTn>
                                        <p:tgtEl>
                                          <p:spTgt spid="22"/>
                                        </p:tgtEl>
                                        <p:attrNameLst>
                                          <p:attrName>style.visibility</p:attrName>
                                        </p:attrNameLst>
                                      </p:cBhvr>
                                      <p:to>
                                        <p:strVal val="visible"/>
                                      </p:to>
                                    </p:set>
                                    <p:animEffect transition="in" filter="fade">
                                      <p:cBhvr>
                                        <p:cTn id="72" dur="500"/>
                                        <p:tgtEl>
                                          <p:spTgt spid="22"/>
                                        </p:tgtEl>
                                      </p:cBhvr>
                                    </p:animEffect>
                                    <p:anim calcmode="lin" valueType="num">
                                      <p:cBhvr>
                                        <p:cTn id="73" dur="500" fill="hold"/>
                                        <p:tgtEl>
                                          <p:spTgt spid="22"/>
                                        </p:tgtEl>
                                        <p:attrNameLst>
                                          <p:attrName>ppt_x</p:attrName>
                                        </p:attrNameLst>
                                      </p:cBhvr>
                                      <p:tavLst>
                                        <p:tav tm="0">
                                          <p:val>
                                            <p:strVal val="#ppt_x"/>
                                          </p:val>
                                        </p:tav>
                                        <p:tav tm="100000">
                                          <p:val>
                                            <p:strVal val="#ppt_x"/>
                                          </p:val>
                                        </p:tav>
                                      </p:tavLst>
                                    </p:anim>
                                    <p:anim calcmode="lin" valueType="num">
                                      <p:cBhvr>
                                        <p:cTn id="74" dur="450" decel="100000" fill="hold"/>
                                        <p:tgtEl>
                                          <p:spTgt spid="22"/>
                                        </p:tgtEl>
                                        <p:attrNameLst>
                                          <p:attrName>ppt_y</p:attrName>
                                        </p:attrNameLst>
                                      </p:cBhvr>
                                      <p:tavLst>
                                        <p:tav tm="0">
                                          <p:val>
                                            <p:strVal val="#ppt_y+1"/>
                                          </p:val>
                                        </p:tav>
                                        <p:tav tm="100000">
                                          <p:val>
                                            <p:strVal val="#ppt_y-.03"/>
                                          </p:val>
                                        </p:tav>
                                      </p:tavLst>
                                    </p:anim>
                                    <p:anim calcmode="lin" valueType="num">
                                      <p:cBhvr>
                                        <p:cTn id="75" dur="50" accel="100000" fill="hold">
                                          <p:stCondLst>
                                            <p:cond delay="450"/>
                                          </p:stCondLst>
                                        </p:cTn>
                                        <p:tgtEl>
                                          <p:spTgt spid="22"/>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文本框 9"/>
          <p:cNvSpPr txBox="1"/>
          <p:nvPr/>
        </p:nvSpPr>
        <p:spPr>
          <a:xfrm>
            <a:off x="2111375" y="2079625"/>
            <a:ext cx="7969885" cy="1554480"/>
          </a:xfrm>
          <a:prstGeom prst="rect">
            <a:avLst/>
          </a:prstGeom>
          <a:noFill/>
        </p:spPr>
        <p:txBody>
          <a:bodyPr wrap="square" rtlCol="0">
            <a:normAutofit/>
          </a:bodyPr>
          <a:lstStyle/>
          <a:p>
            <a:pPr algn="dist"/>
            <a:r>
              <a:rPr lang="vi-VN" altLang="vi-VN" sz="9600" b="1">
                <a:solidFill>
                  <a:schemeClr val="accent2">
                    <a:alpha val="50000"/>
                  </a:schemeClr>
                </a:solidFill>
                <a:latin typeface="Noto Sans"/>
                <a:ea typeface="Noto Sans"/>
                <a:cs typeface="+mn-ea"/>
                <a:sym typeface="Source Han Serif SC" panose="02020700000000000000" pitchFamily="18" charset="-122"/>
              </a:rPr>
              <a:t>NGHĨ BẠN</a:t>
            </a:r>
          </a:p>
        </p:txBody>
      </p:sp>
      <p:grpSp>
        <p:nvGrpSpPr>
          <p:cNvPr id="21" name="组合 20"/>
          <p:cNvGrpSpPr/>
          <p:nvPr/>
        </p:nvGrpSpPr>
        <p:grpSpPr>
          <a:xfrm>
            <a:off x="4933950" y="4662170"/>
            <a:ext cx="2324735" cy="396240"/>
            <a:chOff x="4061" y="7525"/>
            <a:chExt cx="6165" cy="624"/>
          </a:xfrm>
          <a:solidFill>
            <a:schemeClr val="bg1"/>
          </a:solidFill>
        </p:grpSpPr>
        <p:sp>
          <p:nvSpPr>
            <p:cNvPr id="20" name="圆角矩形 19"/>
            <p:cNvSpPr/>
            <p:nvPr/>
          </p:nvSpPr>
          <p:spPr>
            <a:xfrm>
              <a:off x="4061" y="7525"/>
              <a:ext cx="6165" cy="624"/>
            </a:xfrm>
            <a:prstGeom prst="roundRect">
              <a:avLst>
                <a:gd name="adj" fmla="val 50000"/>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004274"/>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 name="文本框 7"/>
            <p:cNvSpPr txBox="1"/>
            <p:nvPr/>
          </p:nvSpPr>
          <p:spPr>
            <a:xfrm>
              <a:off x="4476" y="7596"/>
              <a:ext cx="5335" cy="432"/>
            </a:xfrm>
            <a:prstGeom prst="rect">
              <a:avLst/>
            </a:prstGeom>
            <a:noFill/>
          </p:spPr>
          <p:txBody>
            <a:bodyPr wrap="square" rtlCol="0">
              <a:normAutofit/>
            </a:bodyPr>
            <a:lstStyle/>
            <a:p>
              <a:pPr algn="ctr"/>
              <a:r>
                <a:rPr lang="vi-VN" altLang="vi-VN" sz="1200">
                  <a:solidFill>
                    <a:schemeClr val="bg1"/>
                  </a:solidFill>
                  <a:latin typeface="Noto Sans"/>
                  <a:ea typeface="Noto Sans"/>
                  <a:cs typeface="+mn-ea"/>
                  <a:sym typeface="Source Han Serif SC" panose="02020700000000000000" pitchFamily="18" charset="-122"/>
                </a:rPr>
                <a:t>Phóng viên: Tiền</a:t>
              </a:r>
            </a:p>
          </p:txBody>
        </p:sp>
      </p:grpSp>
      <p:sp>
        <p:nvSpPr>
          <p:cNvPr id="30" name="文本框 29"/>
          <p:cNvSpPr txBox="1"/>
          <p:nvPr/>
        </p:nvSpPr>
        <p:spPr>
          <a:xfrm>
            <a:off x="8141377" y="6352659"/>
            <a:ext cx="3921801" cy="335280"/>
          </a:xfrm>
          <a:prstGeom prst="rect">
            <a:avLst/>
          </a:prstGeom>
          <a:noFill/>
        </p:spPr>
        <p:txBody>
          <a:bodyPr wrap="square" rtlCol="0">
            <a:norm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vi-VN" altLang="vi-VN" sz="1600" b="0" i="0" u="none" strike="noStrike" kern="1200" cap="none" normalizeH="0" baseline="0" noProof="0">
                <a:ln>
                  <a:noFill/>
                </a:ln>
                <a:solidFill>
                  <a:prstClr val="white"/>
                </a:solidFill>
                <a:effectLst/>
                <a:uLnTx/>
                <a:uFillTx/>
                <a:latin typeface="Noto Sans"/>
                <a:ea typeface="Noto Sans"/>
                <a:cs typeface="+mn-ea"/>
                <a:sym typeface="Source Han Serif SC" panose="02020700000000000000" pitchFamily="18" charset="-122"/>
              </a:rPr>
              <a:t>MẪU TẦM NHÌN THIẾT KẾ MỚI</a:t>
            </a:r>
            <a:endParaRPr kumimoji="0" lang="zh-CN" altLang="en-US" sz="1600" b="0" i="0" u="none" strike="noStrike" kern="1200" cap="none" normalizeH="0" baseline="0" noProof="0">
              <a:ln>
                <a:noFill/>
              </a:ln>
              <a:solidFill>
                <a:prstClr val="white"/>
              </a:solidFill>
              <a:effectLst/>
              <a:uLnTx/>
              <a:uFillTx/>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6" name="TextBox 12"/>
          <p:cNvSpPr txBox="1"/>
          <p:nvPr/>
        </p:nvSpPr>
        <p:spPr>
          <a:xfrm>
            <a:off x="2794614" y="2208585"/>
            <a:ext cx="6602340" cy="1031291"/>
          </a:xfrm>
          <a:prstGeom prst="rect">
            <a:avLst/>
          </a:prstGeom>
          <a:noFill/>
        </p:spPr>
        <p:txBody>
          <a:bodyPr wrap="none" rtlCol="0">
            <a:normAutofit/>
          </a:bodyPr>
          <a:lstStyle/>
          <a:p>
            <a:pPr algn="ctr"/>
            <a:r>
              <a:rPr lang="vi-VN" altLang="vi-VN" sz="6100" b="1">
                <a:ln w="18415" cmpd="sng">
                  <a:noFill/>
                  <a:prstDash val="solid"/>
                </a:ln>
                <a:solidFill>
                  <a:schemeClr val="bg1"/>
                </a:solidFill>
                <a:latin typeface="Noto Sans"/>
                <a:ea typeface="Noto Sans"/>
                <a:cs typeface="+mn-ea"/>
                <a:sym typeface="Source Han Serif SC" panose="02020700000000000000" pitchFamily="18" charset="-122"/>
              </a:rPr>
              <a:t>Báo cáo đã hoàn</a:t>
            </a:r>
          </a:p>
        </p:txBody>
      </p:sp>
      <p:sp>
        <p:nvSpPr>
          <p:cNvPr id="7" name="矩形 6"/>
          <p:cNvSpPr/>
          <p:nvPr/>
        </p:nvSpPr>
        <p:spPr>
          <a:xfrm>
            <a:off x="3874610" y="1409841"/>
            <a:ext cx="4799222" cy="323240"/>
          </a:xfrm>
          <a:prstGeom prst="rect">
            <a:avLst/>
          </a:prstGeom>
        </p:spPr>
        <p:txBody>
          <a:bodyPr wrap="none">
            <a:normAutofit/>
          </a:bodyPr>
          <a:lstStyle/>
          <a:p>
            <a:pPr algn="ctr"/>
            <a:r>
              <a:rPr lang="vi-VN" altLang="vi-VN" sz="1500">
                <a:solidFill>
                  <a:schemeClr val="bg1"/>
                </a:solidFill>
                <a:latin typeface="Noto Sans"/>
                <a:ea typeface="Noto Sans"/>
                <a:cs typeface="+mn-ea"/>
                <a:sym typeface="Source Han Serif SC" panose="02020700000000000000" pitchFamily="18" charset="-122"/>
              </a:rPr>
              <a:t>Kế hoạch công tác | Báo cáo chỉ tiêu | Báo cáo tóm</a:t>
            </a:r>
          </a:p>
        </p:txBody>
      </p:sp>
      <p:sp>
        <p:nvSpPr>
          <p:cNvPr id="9" name="矩形 8"/>
          <p:cNvSpPr/>
          <p:nvPr/>
        </p:nvSpPr>
        <p:spPr>
          <a:xfrm>
            <a:off x="2621280" y="3669665"/>
            <a:ext cx="6807199" cy="640080"/>
          </a:xfrm>
          <a:prstGeom prst="rect">
            <a:avLst/>
          </a:prstGeom>
        </p:spPr>
        <p:txBody>
          <a:bodyPr wrap="square">
            <a:normAutofit/>
          </a:bodyPr>
          <a:lstStyle/>
          <a:p>
            <a:pPr algn="ctr"/>
            <a:r>
              <a:rPr lang="vi-VN" altLang="vi-VN" sz="1200">
                <a:solidFill>
                  <a:schemeClr val="bg1"/>
                </a:solidFill>
                <a:latin typeface="Noto Sans"/>
                <a:ea typeface="Noto Sans"/>
                <a:cs typeface="+mn-ea"/>
                <a:sym typeface="Source Han Serif SC" panose="02020700000000000000" pitchFamily="18" charset="-122"/>
              </a:rPr>
              <a:t>Nội dung của bạn sẽ phát ở đây hoặc thông qua bản sao của bạn, dán vào hộp này</a:t>
            </a:r>
          </a:p>
          <a:p>
            <a:pPr algn="ctr"/>
            <a:r>
              <a:rPr lang="vi-VN" altLang="vi-VN" sz="1200">
                <a:solidFill>
                  <a:schemeClr val="bg1"/>
                </a:solidFill>
                <a:latin typeface="Noto Sans"/>
                <a:ea typeface="Noto Sans"/>
                <a:cs typeface="+mn-ea"/>
                <a:sym typeface="Source Han Serif SC" panose="02020700000000000000" pitchFamily="18" charset="-122"/>
              </a:rPr>
              <a:t>văn bản. Nội dung của bạn sẽ phát ở đây hoặc thông qua bản</a:t>
            </a:r>
          </a:p>
          <a:p>
            <a:pPr algn="ctr"/>
            <a:r>
              <a:rPr lang="vi-VN" altLang="vi-VN" sz="1200">
                <a:solidFill>
                  <a:schemeClr val="bg1"/>
                </a:solidFill>
                <a:latin typeface="Noto Sans"/>
                <a:ea typeface="Noto Sans"/>
                <a:cs typeface="+mn-ea"/>
                <a:sym typeface="Source Han Serif SC" panose="02020700000000000000" pitchFamily="18" charset="-122"/>
              </a:rPr>
              <a:t>hộp này và chỉ chọn văn bản.</a:t>
            </a:r>
          </a:p>
        </p:txBody>
      </p:sp>
      <p:sp>
        <p:nvSpPr>
          <p:cNvPr id="12" name="椭圆 11"/>
          <p:cNvSpPr/>
          <p:nvPr/>
        </p:nvSpPr>
        <p:spPr>
          <a:xfrm>
            <a:off x="3243737" y="569502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4" name="椭圆 13"/>
          <p:cNvSpPr/>
          <p:nvPr/>
        </p:nvSpPr>
        <p:spPr>
          <a:xfrm>
            <a:off x="566544" y="180845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7" name="椭圆 16"/>
          <p:cNvSpPr/>
          <p:nvPr/>
        </p:nvSpPr>
        <p:spPr>
          <a:xfrm>
            <a:off x="10099832" y="4661880"/>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18" name="椭圆 17"/>
          <p:cNvSpPr/>
          <p:nvPr/>
        </p:nvSpPr>
        <p:spPr>
          <a:xfrm>
            <a:off x="8865359" y="43050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5" presetClass="entr" presetSubtype="0" fill="hold" nodeType="afterEffect">
                                  <p:stCondLst>
                                    <p:cond delay="0"/>
                                  </p:stCondLst>
                                  <p:childTnLst>
                                    <p:set>
                                      <p:cBhvr>
                                        <p:cTn id="6" dur="500"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strVal val="#ppt_w*0.70"/>
                                          </p:val>
                                        </p:tav>
                                        <p:tav tm="100000">
                                          <p:val>
                                            <p:strVal val="#ppt_w"/>
                                          </p:val>
                                        </p:tav>
                                      </p:tavLst>
                                    </p:anim>
                                    <p:anim calcmode="lin" valueType="num">
                                      <p:cBhvr>
                                        <p:cTn id="8" dur="500" fill="hold"/>
                                        <p:tgtEl>
                                          <p:spTgt spid="21"/>
                                        </p:tgtEl>
                                        <p:attrNameLst>
                                          <p:attrName>ppt_h</p:attrName>
                                        </p:attrNameLst>
                                      </p:cBhvr>
                                      <p:tavLst>
                                        <p:tav tm="0">
                                          <p:val>
                                            <p:strVal val="#ppt_h"/>
                                          </p:val>
                                        </p:tav>
                                        <p:tav tm="100000">
                                          <p:val>
                                            <p:strVal val="#ppt_h"/>
                                          </p:val>
                                        </p:tav>
                                      </p:tavLst>
                                    </p:anim>
                                    <p:animEffect transition="in" filter="fade">
                                      <p:cBhvr>
                                        <p:cTn id="9" dur="500"/>
                                        <p:tgtEl>
                                          <p:spTgt spid="21"/>
                                        </p:tgtEl>
                                      </p:cBhvr>
                                    </p:animEffect>
                                  </p:childTnLst>
                                </p:cTn>
                              </p:par>
                            </p:childTnLst>
                          </p:cTn>
                        </p:par>
                        <p:par>
                          <p:cTn id="10" fill="hold" nodeType="afterGroup">
                            <p:stCondLst>
                              <p:cond delay="500"/>
                            </p:stCondLst>
                            <p:childTnLst>
                              <p:par>
                                <p:cTn id="11" presetID="53" presetClass="entr" presetSubtype="528" fill="hold" grpId="0" nodeType="afterEffect">
                                  <p:stCondLst>
                                    <p:cond delay="0"/>
                                  </p:stCondLst>
                                  <p:iterate type="lt">
                                    <p:tmPct val="10000"/>
                                  </p:iterate>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anim calcmode="lin" valueType="num">
                                      <p:cBhvr>
                                        <p:cTn id="16" dur="500" fill="hold"/>
                                        <p:tgtEl>
                                          <p:spTgt spid="6"/>
                                        </p:tgtEl>
                                        <p:attrNameLst>
                                          <p:attrName>ppt_x</p:attrName>
                                        </p:attrNameLst>
                                      </p:cBhvr>
                                      <p:tavLst>
                                        <p:tav tm="0">
                                          <p:val>
                                            <p:fltVal val="0.5"/>
                                          </p:val>
                                        </p:tav>
                                        <p:tav tm="100000">
                                          <p:val>
                                            <p:strVal val="#ppt_x"/>
                                          </p:val>
                                        </p:tav>
                                      </p:tavLst>
                                    </p:anim>
                                    <p:anim calcmode="lin" valueType="num">
                                      <p:cBhvr>
                                        <p:cTn id="17" dur="500" fill="hold"/>
                                        <p:tgtEl>
                                          <p:spTgt spid="6"/>
                                        </p:tgtEl>
                                        <p:attrNameLst>
                                          <p:attrName>ppt_y</p:attrName>
                                        </p:attrNameLst>
                                      </p:cBhvr>
                                      <p:tavLst>
                                        <p:tav tm="0">
                                          <p:val>
                                            <p:fltVal val="0.5"/>
                                          </p:val>
                                        </p:tav>
                                        <p:tav tm="100000">
                                          <p:val>
                                            <p:strVal val="#ppt_y"/>
                                          </p:val>
                                        </p:tav>
                                      </p:tavLst>
                                    </p:anim>
                                  </p:childTnLst>
                                </p:cTn>
                              </p:par>
                            </p:childTnLst>
                          </p:cTn>
                        </p:par>
                        <p:par>
                          <p:cTn id="18" fill="hold" nodeType="afterGroup">
                            <p:stCondLst>
                              <p:cond delay="1000"/>
                            </p:stCondLst>
                            <p:childTnLst>
                              <p:par>
                                <p:cTn id="19" presetID="42"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par>
                          <p:cTn id="24" fill="hold" nodeType="afterGroup">
                            <p:stCondLst>
                              <p:cond delay="2000"/>
                            </p:stCondLst>
                            <p:childTnLst>
                              <p:par>
                                <p:cTn id="25" presetID="16" presetClass="entr" presetSubtype="37"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barn(outVertical)">
                                      <p:cBhvr>
                                        <p:cTn id="27" dur="11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479107"/>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5" name="文本框 4"/>
          <p:cNvSpPr txBox="1"/>
          <p:nvPr/>
        </p:nvSpPr>
        <p:spPr>
          <a:xfrm>
            <a:off x="4620039" y="506320"/>
            <a:ext cx="2951922" cy="737069"/>
          </a:xfrm>
          <a:prstGeom prst="rect">
            <a:avLst/>
          </a:prstGeom>
          <a:noFill/>
        </p:spPr>
        <p:txBody>
          <a:bodyPr wrap="square" rtlCol="0">
            <a:normAutofit fontScale="92500"/>
          </a:bodyPr>
          <a:lstStyle/>
          <a:p>
            <a:pPr algn="ctr"/>
            <a:r>
              <a:rPr lang="en-US" altLang="vi-VN" sz="2800" b="1">
                <a:solidFill>
                  <a:srgbClr val="004195"/>
                </a:solidFill>
                <a:latin typeface="Noto Sans"/>
                <a:ea typeface="Noto Sans"/>
                <a:cs typeface="+mn-ea"/>
                <a:sym typeface="Source Han Serif SC" panose="02020700000000000000" pitchFamily="18" charset="-122"/>
              </a:rPr>
              <a:t>TÍNH CẤP THIẾT</a:t>
            </a:r>
            <a:endParaRPr lang="vi-VN" altLang="vi-VN" sz="2800" b="1">
              <a:solidFill>
                <a:srgbClr val="004195"/>
              </a:solidFill>
              <a:latin typeface="Noto Sans"/>
              <a:ea typeface="Noto Sans"/>
              <a:cs typeface="+mn-ea"/>
              <a:sym typeface="Source Han Serif SC" panose="02020700000000000000" pitchFamily="18" charset="-122"/>
            </a:endParaRPr>
          </a:p>
        </p:txBody>
      </p:sp>
      <p:sp>
        <p:nvSpPr>
          <p:cNvPr id="55" name="Rectangle 14"/>
          <p:cNvSpPr/>
          <p:nvPr/>
        </p:nvSpPr>
        <p:spPr bwMode="auto">
          <a:xfrm>
            <a:off x="1093303" y="1132525"/>
            <a:ext cx="10227367" cy="5140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normAutofit/>
          </a:bodyPr>
          <a:lstStyle/>
          <a:p>
            <a:pPr marL="342900" lvl="1" indent="-342900">
              <a:lnSpc>
                <a:spcPct val="150000"/>
              </a:lnSpc>
              <a:buClr>
                <a:schemeClr val="tx2"/>
              </a:buClr>
              <a:buFont typeface="Wingdings" panose="05000000000000000000" pitchFamily="2" charset="2"/>
              <a:buChar char="v"/>
            </a:pPr>
            <a:r>
              <a:rPr lang="en-US" altLang="vi-VN" sz="2000" b="1" u="sng">
                <a:latin typeface="Times New Roman" panose="02020603050405020304" pitchFamily="18" charset="0"/>
                <a:cs typeface="Times New Roman" panose="02020603050405020304" pitchFamily="18" charset="0"/>
              </a:rPr>
              <a:t>Tính cấp thiết</a:t>
            </a:r>
          </a:p>
          <a:p>
            <a:pPr marL="800100" lvl="2" indent="-342900">
              <a:lnSpc>
                <a:spcPct val="150000"/>
              </a:lnSpc>
              <a:buClr>
                <a:schemeClr val="tx2"/>
              </a:buClr>
              <a:buFont typeface="Courier New" panose="02070309020205020404" pitchFamily="49" charset="0"/>
              <a:buChar char="o"/>
            </a:pPr>
            <a:r>
              <a:rPr lang="en-US" altLang="vi-VN">
                <a:latin typeface="Times New Roman" panose="02020603050405020304" pitchFamily="18" charset="0"/>
                <a:cs typeface="Times New Roman" panose="02020603050405020304" pitchFamily="18" charset="0"/>
              </a:rPr>
              <a:t>Cùng với s</a:t>
            </a:r>
            <a:r>
              <a:rPr lang="vi-VN" altLang="vi-VN">
                <a:latin typeface="Times New Roman" panose="02020603050405020304" pitchFamily="18" charset="0"/>
                <a:cs typeface="Times New Roman" panose="02020603050405020304" pitchFamily="18" charset="0"/>
              </a:rPr>
              <a:t>ự phát triển mạnh mẽ của ngành Công nghệ thông tin</a:t>
            </a:r>
            <a:r>
              <a:rPr lang="en-US" altLang="vi-VN">
                <a:latin typeface="Times New Roman" panose="02020603050405020304" pitchFamily="18" charset="0"/>
                <a:cs typeface="Times New Roman" panose="02020603050405020304" pitchFamily="18" charset="0"/>
              </a:rPr>
              <a:t> ( Internet ) và nhu cầu phát triển kinh doanh trong lĩnh vự bán hàng online đặc biệt là mặt hàng laptop .</a:t>
            </a:r>
          </a:p>
          <a:p>
            <a:pPr marL="800100" lvl="2" indent="-342900">
              <a:lnSpc>
                <a:spcPct val="150000"/>
              </a:lnSpc>
              <a:buClr>
                <a:schemeClr val="tx2"/>
              </a:buClr>
              <a:buFont typeface="Courier New" panose="02070309020205020404" pitchFamily="49" charset="0"/>
              <a:buChar char="o"/>
            </a:pPr>
            <a:r>
              <a:rPr lang="vi-VN" altLang="vi-VN">
                <a:latin typeface="Times New Roman" panose="02020603050405020304" pitchFamily="18" charset="0"/>
                <a:cs typeface="Times New Roman" panose="02020603050405020304" pitchFamily="18" charset="0"/>
              </a:rPr>
              <a:t>Xuất phát từ nhu cầu của doanh nghiệp</a:t>
            </a:r>
            <a:r>
              <a:rPr lang="en-US" altLang="vi-VN">
                <a:latin typeface="Times New Roman" panose="02020603050405020304" pitchFamily="18" charset="0"/>
                <a:cs typeface="Times New Roman" panose="02020603050405020304" pitchFamily="18" charset="0"/>
              </a:rPr>
              <a:t>, nhu cầu học hỏi của bản thân muốn xây dựng sản phẩm có thể học tập và phát triển .</a:t>
            </a:r>
          </a:p>
          <a:p>
            <a:pPr marL="800100" lvl="2" indent="-342900">
              <a:lnSpc>
                <a:spcPct val="150000"/>
              </a:lnSpc>
              <a:buClr>
                <a:schemeClr val="tx2"/>
              </a:buClr>
              <a:buFont typeface="Courier New" panose="02070309020205020404" pitchFamily="49" charset="0"/>
              <a:buChar char="o"/>
            </a:pPr>
            <a:r>
              <a:rPr lang="vi-VN" altLang="vi-VN">
                <a:latin typeface="Times New Roman" panose="02020603050405020304" pitchFamily="18" charset="0"/>
                <a:cs typeface="Times New Roman" panose="02020603050405020304" pitchFamily="18" charset="0"/>
              </a:rPr>
              <a:t>Định hướng tương lai nghề nghiệp</a:t>
            </a:r>
            <a:endParaRPr lang="en-US" altLang="zh-CN" sz="1300">
              <a:solidFill>
                <a:srgbClr val="474747"/>
              </a:solidFill>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barn(outVertical)">
                                      <p:cBhvr>
                                        <p:cTn id="7" dur="2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文本框 6"/>
          <p:cNvSpPr txBox="1"/>
          <p:nvPr/>
        </p:nvSpPr>
        <p:spPr>
          <a:xfrm>
            <a:off x="4836160" y="620547"/>
            <a:ext cx="2519680" cy="441960"/>
          </a:xfrm>
          <a:prstGeom prst="rect">
            <a:avLst/>
          </a:prstGeom>
          <a:noFill/>
        </p:spPr>
        <p:txBody>
          <a:bodyPr wrap="square" rtlCol="0">
            <a:normAutofit fontScale="92500" lnSpcReduction="20000"/>
          </a:bodyPr>
          <a:lstStyle/>
          <a:p>
            <a:pPr algn="ctr"/>
            <a:r>
              <a:rPr lang="en-US" altLang="vi-VN" sz="2800" b="1">
                <a:solidFill>
                  <a:srgbClr val="004195"/>
                </a:solidFill>
                <a:latin typeface="Noto Sans"/>
                <a:ea typeface="Noto Sans"/>
                <a:cs typeface="+mn-ea"/>
                <a:sym typeface="Source Han Serif SC" panose="02020700000000000000" pitchFamily="18" charset="-122"/>
              </a:rPr>
              <a:t>MỤC TIÊU</a:t>
            </a:r>
            <a:endParaRPr lang="vi-VN" altLang="vi-VN" sz="2800" b="1">
              <a:solidFill>
                <a:srgbClr val="004195"/>
              </a:solidFill>
              <a:latin typeface="Noto Sans"/>
              <a:ea typeface="Noto Sans"/>
              <a:cs typeface="+mn-ea"/>
              <a:sym typeface="Source Han Serif SC" panose="02020700000000000000" pitchFamily="18" charset="-122"/>
            </a:endParaRPr>
          </a:p>
        </p:txBody>
      </p:sp>
      <p:sp>
        <p:nvSpPr>
          <p:cNvPr id="10" name="Rectangle 3">
            <a:extLst>
              <a:ext uri="{FF2B5EF4-FFF2-40B4-BE49-F238E27FC236}">
                <a16:creationId xmlns:a16="http://schemas.microsoft.com/office/drawing/2014/main" id="{5B5DDCBC-F540-D7FA-1E8E-A98F9C4C6B48}"/>
              </a:ext>
            </a:extLst>
          </p:cNvPr>
          <p:cNvSpPr txBox="1">
            <a:spLocks noChangeArrowheads="1"/>
          </p:cNvSpPr>
          <p:nvPr/>
        </p:nvSpPr>
        <p:spPr bwMode="auto">
          <a:xfrm>
            <a:off x="895661" y="1234040"/>
            <a:ext cx="10400678" cy="4779962"/>
          </a:xfrm>
          <a:prstGeom prst="rect">
            <a:avLst/>
          </a:prstGeom>
          <a:noFill/>
          <a:ln>
            <a:noFill/>
          </a:ln>
          <a:effectLst/>
        </p:spPr>
        <p:txBody>
          <a:bodyPr/>
          <a:lstStyle>
            <a:lvl1pPr marL="342900" indent="-342900" algn="l" rtl="0" eaLnBrk="0" fontAlgn="base" hangingPunct="0">
              <a:spcBef>
                <a:spcPct val="20000"/>
              </a:spcBef>
              <a:spcAft>
                <a:spcPct val="0"/>
              </a:spcAft>
              <a:buClr>
                <a:schemeClr val="tx2"/>
              </a:buClr>
              <a:buFont typeface="Wingdings" panose="05000000000000000000" pitchFamily="2" charset="2"/>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Font typeface="Wingdings" panose="05000000000000000000" pitchFamily="2" charset="2"/>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tx1"/>
              </a:buClr>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400050" eaLnBrk="1" hangingPunct="1">
              <a:lnSpc>
                <a:spcPct val="150000"/>
              </a:lnSpc>
              <a:buFont typeface="Wingdings" panose="05000000000000000000" pitchFamily="2" charset="2"/>
              <a:buChar char="v"/>
              <a:defRPr/>
            </a:pPr>
            <a:r>
              <a:rPr lang="en-US" sz="2200" b="1" u="sng" err="1">
                <a:latin typeface="Times New Roman" panose="02020603050405020304" pitchFamily="18" charset="0"/>
                <a:cs typeface="Times New Roman" panose="02020603050405020304" pitchFamily="18" charset="0"/>
              </a:rPr>
              <a:t>Mục</a:t>
            </a:r>
            <a:r>
              <a:rPr lang="en-US" sz="2200" b="1" u="sng">
                <a:latin typeface="Times New Roman" panose="02020603050405020304" pitchFamily="18" charset="0"/>
                <a:cs typeface="Times New Roman" panose="02020603050405020304" pitchFamily="18" charset="0"/>
              </a:rPr>
              <a:t> tiêu</a:t>
            </a:r>
          </a:p>
          <a:p>
            <a:pPr marL="742950" lvl="2" indent="-342900" eaLnBrk="1" hangingPunct="1">
              <a:lnSpc>
                <a:spcPct val="150000"/>
              </a:lnSpc>
              <a:buClr>
                <a:schemeClr val="tx2"/>
              </a:buClr>
              <a:buFont typeface="Courier New" panose="02070309020205020404" pitchFamily="49" charset="0"/>
              <a:buChar char="o"/>
              <a:defRPr/>
            </a:pPr>
            <a:r>
              <a:rPr lang="en-US" sz="1800" err="1">
                <a:latin typeface="Times New Roman" panose="02020603050405020304" pitchFamily="18" charset="0"/>
                <a:cs typeface="Times New Roman" panose="02020603050405020304" pitchFamily="18" charset="0"/>
              </a:rPr>
              <a:t>Xây</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dựng</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hành</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công</a:t>
            </a:r>
            <a:r>
              <a:rPr lang="en-US" sz="1800">
                <a:latin typeface="Times New Roman" panose="02020603050405020304" pitchFamily="18" charset="0"/>
                <a:cs typeface="Times New Roman" panose="02020603050405020304" pitchFamily="18" charset="0"/>
              </a:rPr>
              <a:t> website </a:t>
            </a:r>
            <a:r>
              <a:rPr lang="en-US" sz="1800" err="1">
                <a:latin typeface="Times New Roman" panose="02020603050405020304" pitchFamily="18" charset="0"/>
                <a:cs typeface="Times New Roman" panose="02020603050405020304" pitchFamily="18" charset="0"/>
              </a:rPr>
              <a:t>bán</a:t>
            </a:r>
            <a:r>
              <a:rPr lang="en-US" sz="1800">
                <a:latin typeface="Times New Roman" panose="02020603050405020304" pitchFamily="18" charset="0"/>
                <a:cs typeface="Times New Roman" panose="02020603050405020304" pitchFamily="18" charset="0"/>
              </a:rPr>
              <a:t> laptop.</a:t>
            </a:r>
          </a:p>
          <a:p>
            <a:pPr marL="742950" lvl="2" indent="-342900" eaLnBrk="1" hangingPunct="1">
              <a:lnSpc>
                <a:spcPct val="150000"/>
              </a:lnSpc>
              <a:buClr>
                <a:schemeClr val="tx2"/>
              </a:buClr>
              <a:buFont typeface="Courier New" panose="02070309020205020404" pitchFamily="49" charset="0"/>
              <a:buChar char="o"/>
              <a:defRPr/>
            </a:pPr>
            <a:r>
              <a:rPr lang="vi-VN" sz="1800">
                <a:latin typeface="Times New Roman" panose="02020603050405020304" pitchFamily="18" charset="0"/>
                <a:cs typeface="Times New Roman" panose="02020603050405020304" pitchFamily="18" charset="0"/>
              </a:rPr>
              <a:t>Tìm hiểu thêm được các công nghệ xây dựng lên website hoàn chỉnh.</a:t>
            </a:r>
            <a:endParaRPr lang="en-US" sz="1800">
              <a:latin typeface="Times New Roman" panose="02020603050405020304" pitchFamily="18" charset="0"/>
              <a:cs typeface="Times New Roman" panose="02020603050405020304" pitchFamily="18" charset="0"/>
            </a:endParaRPr>
          </a:p>
          <a:p>
            <a:pPr marL="742950" lvl="2" indent="-342900" eaLnBrk="1" hangingPunct="1">
              <a:lnSpc>
                <a:spcPct val="150000"/>
              </a:lnSpc>
              <a:buClr>
                <a:schemeClr val="tx2"/>
              </a:buClr>
              <a:buFont typeface="Courier New" panose="02070309020205020404" pitchFamily="49" charset="0"/>
              <a:buChar char="o"/>
              <a:defRPr/>
            </a:pPr>
            <a:r>
              <a:rPr lang="vi-VN" sz="1800">
                <a:latin typeface="Times New Roman" panose="02020603050405020304" pitchFamily="18" charset="0"/>
                <a:cs typeface="Times New Roman" panose="02020603050405020304" pitchFamily="18" charset="0"/>
              </a:rPr>
              <a:t>Xây dựng đầy các chức năng và thiết kế hệ thống, CSDL có tầm nhìn dài hạn.</a:t>
            </a:r>
            <a:endParaRPr lang="en-US" sz="1800">
              <a:latin typeface="Times New Roman" panose="02020603050405020304" pitchFamily="18" charset="0"/>
              <a:cs typeface="Times New Roman" panose="02020603050405020304" pitchFamily="18" charset="0"/>
            </a:endParaRPr>
          </a:p>
          <a:p>
            <a:pPr marL="742950" lvl="2" indent="-342900" eaLnBrk="1" hangingPunct="1">
              <a:lnSpc>
                <a:spcPct val="150000"/>
              </a:lnSpc>
              <a:buClr>
                <a:schemeClr val="tx2"/>
              </a:buClr>
              <a:buFont typeface="Courier New" panose="02070309020205020404" pitchFamily="49" charset="0"/>
              <a:buChar char="o"/>
              <a:defRPr/>
            </a:pPr>
            <a:r>
              <a:rPr lang="vi-VN" sz="1800" kern="0">
                <a:latin typeface="Times New Roman" panose="02020603050405020304" pitchFamily="18" charset="0"/>
                <a:cs typeface="Times New Roman" panose="02020603050405020304" pitchFamily="18" charset="0"/>
              </a:rPr>
              <a:t>Website hiển thị sản phẩm đẹp, thu hút người dùng.</a:t>
            </a:r>
            <a:endParaRPr lang="en-GB" sz="1800" kern="0">
              <a:latin typeface="Times New Roman" panose="02020603050405020304" pitchFamily="18" charset="0"/>
              <a:cs typeface="Times New Roman" panose="02020603050405020304" pitchFamily="18" charset="0"/>
            </a:endParaRPr>
          </a:p>
          <a:p>
            <a:pPr marL="742950" lvl="2" indent="-342900" eaLnBrk="1" hangingPunct="1">
              <a:lnSpc>
                <a:spcPct val="150000"/>
              </a:lnSpc>
              <a:buClr>
                <a:schemeClr val="tx2"/>
              </a:buClr>
              <a:buFont typeface="Courier New" panose="02070309020205020404" pitchFamily="49" charset="0"/>
              <a:buChar char="o"/>
              <a:defRPr/>
            </a:pPr>
            <a:r>
              <a:rPr lang="vi-VN" sz="1800" kern="0">
                <a:latin typeface="Times New Roman" panose="02020603050405020304" pitchFamily="18" charset="0"/>
                <a:cs typeface="Times New Roman" panose="02020603050405020304" pitchFamily="18" charset="0"/>
              </a:rPr>
              <a:t>Xây dựng và phát triển thương hiệu cho trang Web.</a:t>
            </a:r>
            <a:endParaRPr lang="en-US" sz="1800" kern="0">
              <a:latin typeface="Times New Roman" panose="02020603050405020304" pitchFamily="18" charset="0"/>
              <a:cs typeface="Times New Roman" panose="02020603050405020304" pitchFamily="18" charset="0"/>
            </a:endParaRPr>
          </a:p>
          <a:p>
            <a:pPr marL="742950" lvl="2" indent="-342900" eaLnBrk="1" hangingPunct="1">
              <a:lnSpc>
                <a:spcPct val="150000"/>
              </a:lnSpc>
              <a:buClr>
                <a:schemeClr val="tx2"/>
              </a:buClr>
              <a:buFont typeface="Courier New" panose="02070309020205020404" pitchFamily="49" charset="0"/>
              <a:buChar char="o"/>
              <a:defRPr/>
            </a:pPr>
            <a:r>
              <a:rPr lang="vi-VN" sz="1800">
                <a:latin typeface="Times New Roman" panose="02020603050405020304" pitchFamily="18" charset="0"/>
                <a:cs typeface="Times New Roman" panose="02020603050405020304" pitchFamily="18" charset="0"/>
              </a:rPr>
              <a:t>Giúp cho người bán có một kênh để quảng bá sản phẩm, đồng thời là tiền để trở thành kênh phân phối sản phẩm nhanh chóng tới tay khách hàng.</a:t>
            </a:r>
            <a:endParaRPr lang="en-GB" sz="1800">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wipe(down)">
                                      <p:cBhvr>
                                        <p:cTn id="7" dur="580">
                                          <p:stCondLst>
                                            <p:cond delay="0"/>
                                          </p:stCondLst>
                                        </p:cTn>
                                        <p:tgtEl>
                                          <p:spTgt spid="10">
                                            <p:txEl>
                                              <p:pRg st="0" end="0"/>
                                            </p:txEl>
                                          </p:spTgt>
                                        </p:tgtEl>
                                      </p:cBhvr>
                                    </p:animEffect>
                                    <p:anim calcmode="lin" valueType="num">
                                      <p:cBhvr>
                                        <p:cTn id="8" dur="1822" tmFilter="0,0; 0.14,0.36; 0.43,0.73; 0.71,0.91; 1.0,1.0">
                                          <p:stCondLst>
                                            <p:cond delay="0"/>
                                          </p:stCondLst>
                                        </p:cTn>
                                        <p:tgtEl>
                                          <p:spTgt spid="10">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0">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0">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0">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0">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10">
                                            <p:txEl>
                                              <p:pRg st="0" end="0"/>
                                            </p:txEl>
                                          </p:spTgt>
                                        </p:tgtEl>
                                      </p:cBhvr>
                                      <p:to x="100000" y="60000"/>
                                    </p:animScale>
                                    <p:animScale>
                                      <p:cBhvr>
                                        <p:cTn id="14" dur="166" decel="50000">
                                          <p:stCondLst>
                                            <p:cond delay="676"/>
                                          </p:stCondLst>
                                        </p:cTn>
                                        <p:tgtEl>
                                          <p:spTgt spid="10">
                                            <p:txEl>
                                              <p:pRg st="0" end="0"/>
                                            </p:txEl>
                                          </p:spTgt>
                                        </p:tgtEl>
                                      </p:cBhvr>
                                      <p:to x="100000" y="100000"/>
                                    </p:animScale>
                                    <p:animScale>
                                      <p:cBhvr>
                                        <p:cTn id="15" dur="26">
                                          <p:stCondLst>
                                            <p:cond delay="1312"/>
                                          </p:stCondLst>
                                        </p:cTn>
                                        <p:tgtEl>
                                          <p:spTgt spid="10">
                                            <p:txEl>
                                              <p:pRg st="0" end="0"/>
                                            </p:txEl>
                                          </p:spTgt>
                                        </p:tgtEl>
                                      </p:cBhvr>
                                      <p:to x="100000" y="80000"/>
                                    </p:animScale>
                                    <p:animScale>
                                      <p:cBhvr>
                                        <p:cTn id="16" dur="166" decel="50000">
                                          <p:stCondLst>
                                            <p:cond delay="1338"/>
                                          </p:stCondLst>
                                        </p:cTn>
                                        <p:tgtEl>
                                          <p:spTgt spid="10">
                                            <p:txEl>
                                              <p:pRg st="0" end="0"/>
                                            </p:txEl>
                                          </p:spTgt>
                                        </p:tgtEl>
                                      </p:cBhvr>
                                      <p:to x="100000" y="100000"/>
                                    </p:animScale>
                                    <p:animScale>
                                      <p:cBhvr>
                                        <p:cTn id="17" dur="26">
                                          <p:stCondLst>
                                            <p:cond delay="1642"/>
                                          </p:stCondLst>
                                        </p:cTn>
                                        <p:tgtEl>
                                          <p:spTgt spid="10">
                                            <p:txEl>
                                              <p:pRg st="0" end="0"/>
                                            </p:txEl>
                                          </p:spTgt>
                                        </p:tgtEl>
                                      </p:cBhvr>
                                      <p:to x="100000" y="90000"/>
                                    </p:animScale>
                                    <p:animScale>
                                      <p:cBhvr>
                                        <p:cTn id="18" dur="166" decel="50000">
                                          <p:stCondLst>
                                            <p:cond delay="1668"/>
                                          </p:stCondLst>
                                        </p:cTn>
                                        <p:tgtEl>
                                          <p:spTgt spid="10">
                                            <p:txEl>
                                              <p:pRg st="0" end="0"/>
                                            </p:txEl>
                                          </p:spTgt>
                                        </p:tgtEl>
                                      </p:cBhvr>
                                      <p:to x="100000" y="100000"/>
                                    </p:animScale>
                                    <p:animScale>
                                      <p:cBhvr>
                                        <p:cTn id="19" dur="26">
                                          <p:stCondLst>
                                            <p:cond delay="1808"/>
                                          </p:stCondLst>
                                        </p:cTn>
                                        <p:tgtEl>
                                          <p:spTgt spid="10">
                                            <p:txEl>
                                              <p:pRg st="0" end="0"/>
                                            </p:txEl>
                                          </p:spTgt>
                                        </p:tgtEl>
                                      </p:cBhvr>
                                      <p:to x="100000" y="95000"/>
                                    </p:animScale>
                                    <p:animScale>
                                      <p:cBhvr>
                                        <p:cTn id="20" dur="166" decel="50000">
                                          <p:stCondLst>
                                            <p:cond delay="1834"/>
                                          </p:stCondLst>
                                        </p:cTn>
                                        <p:tgtEl>
                                          <p:spTgt spid="10">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10">
                                            <p:txEl>
                                              <p:pRg st="1" end="1"/>
                                            </p:txEl>
                                          </p:spTgt>
                                        </p:tgtEl>
                                        <p:attrNameLst>
                                          <p:attrName>style.visibility</p:attrName>
                                        </p:attrNameLst>
                                      </p:cBhvr>
                                      <p:to>
                                        <p:strVal val="visible"/>
                                      </p:to>
                                    </p:set>
                                    <p:animEffect transition="in" filter="fade">
                                      <p:cBhvr>
                                        <p:cTn id="25" dur="1000"/>
                                        <p:tgtEl>
                                          <p:spTgt spid="10">
                                            <p:txEl>
                                              <p:pRg st="1" end="1"/>
                                            </p:txEl>
                                          </p:spTgt>
                                        </p:tgtEl>
                                      </p:cBhvr>
                                    </p:animEffect>
                                    <p:anim calcmode="lin" valueType="num">
                                      <p:cBhvr>
                                        <p:cTn id="26" dur="1000" fill="hold"/>
                                        <p:tgtEl>
                                          <p:spTgt spid="10">
                                            <p:txEl>
                                              <p:pRg st="1" end="1"/>
                                            </p:txEl>
                                          </p:spTgt>
                                        </p:tgtEl>
                                        <p:attrNameLst>
                                          <p:attrName>ppt_x</p:attrName>
                                        </p:attrNameLst>
                                      </p:cBhvr>
                                      <p:tavLst>
                                        <p:tav tm="0">
                                          <p:val>
                                            <p:strVal val="#ppt_x"/>
                                          </p:val>
                                        </p:tav>
                                        <p:tav tm="100000">
                                          <p:val>
                                            <p:strVal val="#ppt_x"/>
                                          </p:val>
                                        </p:tav>
                                      </p:tavLst>
                                    </p:anim>
                                    <p:anim calcmode="lin" valueType="num">
                                      <p:cBhvr>
                                        <p:cTn id="27" dur="1000" fill="hold"/>
                                        <p:tgtEl>
                                          <p:spTgt spid="10">
                                            <p:txEl>
                                              <p:pRg st="1" end="1"/>
                                            </p:txEl>
                                          </p:spTgt>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10">
                                            <p:txEl>
                                              <p:pRg st="2" end="2"/>
                                            </p:txEl>
                                          </p:spTgt>
                                        </p:tgtEl>
                                        <p:attrNameLst>
                                          <p:attrName>style.visibility</p:attrName>
                                        </p:attrNameLst>
                                      </p:cBhvr>
                                      <p:to>
                                        <p:strVal val="visible"/>
                                      </p:to>
                                    </p:set>
                                    <p:animEffect transition="in" filter="fade">
                                      <p:cBhvr>
                                        <p:cTn id="30" dur="1000"/>
                                        <p:tgtEl>
                                          <p:spTgt spid="10">
                                            <p:txEl>
                                              <p:pRg st="2" end="2"/>
                                            </p:txEl>
                                          </p:spTgt>
                                        </p:tgtEl>
                                      </p:cBhvr>
                                    </p:animEffect>
                                    <p:anim calcmode="lin" valueType="num">
                                      <p:cBhvr>
                                        <p:cTn id="31" dur="1000" fill="hold"/>
                                        <p:tgtEl>
                                          <p:spTgt spid="10">
                                            <p:txEl>
                                              <p:pRg st="2" end="2"/>
                                            </p:txEl>
                                          </p:spTgt>
                                        </p:tgtEl>
                                        <p:attrNameLst>
                                          <p:attrName>ppt_x</p:attrName>
                                        </p:attrNameLst>
                                      </p:cBhvr>
                                      <p:tavLst>
                                        <p:tav tm="0">
                                          <p:val>
                                            <p:strVal val="#ppt_x"/>
                                          </p:val>
                                        </p:tav>
                                        <p:tav tm="100000">
                                          <p:val>
                                            <p:strVal val="#ppt_x"/>
                                          </p:val>
                                        </p:tav>
                                      </p:tavLst>
                                    </p:anim>
                                    <p:anim calcmode="lin" valueType="num">
                                      <p:cBhvr>
                                        <p:cTn id="32" dur="1000" fill="hold"/>
                                        <p:tgtEl>
                                          <p:spTgt spid="10">
                                            <p:txEl>
                                              <p:pRg st="2" end="2"/>
                                            </p:txEl>
                                          </p:spTgt>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10">
                                            <p:txEl>
                                              <p:pRg st="3" end="3"/>
                                            </p:txEl>
                                          </p:spTgt>
                                        </p:tgtEl>
                                        <p:attrNameLst>
                                          <p:attrName>style.visibility</p:attrName>
                                        </p:attrNameLst>
                                      </p:cBhvr>
                                      <p:to>
                                        <p:strVal val="visible"/>
                                      </p:to>
                                    </p:set>
                                    <p:animEffect transition="in" filter="fade">
                                      <p:cBhvr>
                                        <p:cTn id="35" dur="1000"/>
                                        <p:tgtEl>
                                          <p:spTgt spid="10">
                                            <p:txEl>
                                              <p:pRg st="3" end="3"/>
                                            </p:txEl>
                                          </p:spTgt>
                                        </p:tgtEl>
                                      </p:cBhvr>
                                    </p:animEffect>
                                    <p:anim calcmode="lin" valueType="num">
                                      <p:cBhvr>
                                        <p:cTn id="36" dur="1000" fill="hold"/>
                                        <p:tgtEl>
                                          <p:spTgt spid="10">
                                            <p:txEl>
                                              <p:pRg st="3" end="3"/>
                                            </p:txEl>
                                          </p:spTgt>
                                        </p:tgtEl>
                                        <p:attrNameLst>
                                          <p:attrName>ppt_x</p:attrName>
                                        </p:attrNameLst>
                                      </p:cBhvr>
                                      <p:tavLst>
                                        <p:tav tm="0">
                                          <p:val>
                                            <p:strVal val="#ppt_x"/>
                                          </p:val>
                                        </p:tav>
                                        <p:tav tm="100000">
                                          <p:val>
                                            <p:strVal val="#ppt_x"/>
                                          </p:val>
                                        </p:tav>
                                      </p:tavLst>
                                    </p:anim>
                                    <p:anim calcmode="lin" valueType="num">
                                      <p:cBhvr>
                                        <p:cTn id="37" dur="1000" fill="hold"/>
                                        <p:tgtEl>
                                          <p:spTgt spid="10">
                                            <p:txEl>
                                              <p:pRg st="3" end="3"/>
                                            </p:txEl>
                                          </p:spTgt>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10">
                                            <p:txEl>
                                              <p:pRg st="4" end="4"/>
                                            </p:txEl>
                                          </p:spTgt>
                                        </p:tgtEl>
                                        <p:attrNameLst>
                                          <p:attrName>style.visibility</p:attrName>
                                        </p:attrNameLst>
                                      </p:cBhvr>
                                      <p:to>
                                        <p:strVal val="visible"/>
                                      </p:to>
                                    </p:set>
                                    <p:animEffect transition="in" filter="fade">
                                      <p:cBhvr>
                                        <p:cTn id="40" dur="1000"/>
                                        <p:tgtEl>
                                          <p:spTgt spid="10">
                                            <p:txEl>
                                              <p:pRg st="4" end="4"/>
                                            </p:txEl>
                                          </p:spTgt>
                                        </p:tgtEl>
                                      </p:cBhvr>
                                    </p:animEffect>
                                    <p:anim calcmode="lin" valueType="num">
                                      <p:cBhvr>
                                        <p:cTn id="41" dur="1000" fill="hold"/>
                                        <p:tgtEl>
                                          <p:spTgt spid="10">
                                            <p:txEl>
                                              <p:pRg st="4" end="4"/>
                                            </p:txEl>
                                          </p:spTgt>
                                        </p:tgtEl>
                                        <p:attrNameLst>
                                          <p:attrName>ppt_x</p:attrName>
                                        </p:attrNameLst>
                                      </p:cBhvr>
                                      <p:tavLst>
                                        <p:tav tm="0">
                                          <p:val>
                                            <p:strVal val="#ppt_x"/>
                                          </p:val>
                                        </p:tav>
                                        <p:tav tm="100000">
                                          <p:val>
                                            <p:strVal val="#ppt_x"/>
                                          </p:val>
                                        </p:tav>
                                      </p:tavLst>
                                    </p:anim>
                                    <p:anim calcmode="lin" valueType="num">
                                      <p:cBhvr>
                                        <p:cTn id="42" dur="1000" fill="hold"/>
                                        <p:tgtEl>
                                          <p:spTgt spid="10">
                                            <p:txEl>
                                              <p:pRg st="4" end="4"/>
                                            </p:txEl>
                                          </p:spTgt>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0">
                                            <p:txEl>
                                              <p:pRg st="5" end="5"/>
                                            </p:txEl>
                                          </p:spTgt>
                                        </p:tgtEl>
                                        <p:attrNameLst>
                                          <p:attrName>style.visibility</p:attrName>
                                        </p:attrNameLst>
                                      </p:cBhvr>
                                      <p:to>
                                        <p:strVal val="visible"/>
                                      </p:to>
                                    </p:set>
                                    <p:animEffect transition="in" filter="fade">
                                      <p:cBhvr>
                                        <p:cTn id="45" dur="1000"/>
                                        <p:tgtEl>
                                          <p:spTgt spid="10">
                                            <p:txEl>
                                              <p:pRg st="5" end="5"/>
                                            </p:txEl>
                                          </p:spTgt>
                                        </p:tgtEl>
                                      </p:cBhvr>
                                    </p:animEffect>
                                    <p:anim calcmode="lin" valueType="num">
                                      <p:cBhvr>
                                        <p:cTn id="46" dur="1000" fill="hold"/>
                                        <p:tgtEl>
                                          <p:spTgt spid="10">
                                            <p:txEl>
                                              <p:pRg st="5" end="5"/>
                                            </p:txEl>
                                          </p:spTgt>
                                        </p:tgtEl>
                                        <p:attrNameLst>
                                          <p:attrName>ppt_x</p:attrName>
                                        </p:attrNameLst>
                                      </p:cBhvr>
                                      <p:tavLst>
                                        <p:tav tm="0">
                                          <p:val>
                                            <p:strVal val="#ppt_x"/>
                                          </p:val>
                                        </p:tav>
                                        <p:tav tm="100000">
                                          <p:val>
                                            <p:strVal val="#ppt_x"/>
                                          </p:val>
                                        </p:tav>
                                      </p:tavLst>
                                    </p:anim>
                                    <p:anim calcmode="lin" valueType="num">
                                      <p:cBhvr>
                                        <p:cTn id="47" dur="1000" fill="hold"/>
                                        <p:tgtEl>
                                          <p:spTgt spid="10">
                                            <p:txEl>
                                              <p:pRg st="5" end="5"/>
                                            </p:txEl>
                                          </p:spTgt>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10">
                                            <p:txEl>
                                              <p:pRg st="6" end="6"/>
                                            </p:txEl>
                                          </p:spTgt>
                                        </p:tgtEl>
                                        <p:attrNameLst>
                                          <p:attrName>style.visibility</p:attrName>
                                        </p:attrNameLst>
                                      </p:cBhvr>
                                      <p:to>
                                        <p:strVal val="visible"/>
                                      </p:to>
                                    </p:set>
                                    <p:animEffect transition="in" filter="fade">
                                      <p:cBhvr>
                                        <p:cTn id="50" dur="1000"/>
                                        <p:tgtEl>
                                          <p:spTgt spid="10">
                                            <p:txEl>
                                              <p:pRg st="6" end="6"/>
                                            </p:txEl>
                                          </p:spTgt>
                                        </p:tgtEl>
                                      </p:cBhvr>
                                    </p:animEffect>
                                    <p:anim calcmode="lin" valueType="num">
                                      <p:cBhvr>
                                        <p:cTn id="51" dur="1000" fill="hold"/>
                                        <p:tgtEl>
                                          <p:spTgt spid="10">
                                            <p:txEl>
                                              <p:pRg st="6" end="6"/>
                                            </p:txEl>
                                          </p:spTgt>
                                        </p:tgtEl>
                                        <p:attrNameLst>
                                          <p:attrName>ppt_x</p:attrName>
                                        </p:attrNameLst>
                                      </p:cBhvr>
                                      <p:tavLst>
                                        <p:tav tm="0">
                                          <p:val>
                                            <p:strVal val="#ppt_x"/>
                                          </p:val>
                                        </p:tav>
                                        <p:tav tm="100000">
                                          <p:val>
                                            <p:strVal val="#ppt_x"/>
                                          </p:val>
                                        </p:tav>
                                      </p:tavLst>
                                    </p:anim>
                                    <p:anim calcmode="lin" valueType="num">
                                      <p:cBhvr>
                                        <p:cTn id="52" dur="1000" fill="hold"/>
                                        <p:tgtEl>
                                          <p:spTgt spid="10">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5" name="文本框 4"/>
          <p:cNvSpPr txBox="1"/>
          <p:nvPr/>
        </p:nvSpPr>
        <p:spPr>
          <a:xfrm>
            <a:off x="4430678" y="584835"/>
            <a:ext cx="3299791" cy="657555"/>
          </a:xfrm>
          <a:prstGeom prst="rect">
            <a:avLst/>
          </a:prstGeom>
          <a:noFill/>
        </p:spPr>
        <p:txBody>
          <a:bodyPr wrap="square" rtlCol="0">
            <a:normAutofit fontScale="92500"/>
          </a:bodyPr>
          <a:lstStyle/>
          <a:p>
            <a:pPr algn="ctr"/>
            <a:r>
              <a:rPr lang="en-US" altLang="vi-VN" sz="2800" b="1">
                <a:solidFill>
                  <a:srgbClr val="004195"/>
                </a:solidFill>
                <a:latin typeface="Noto Sans"/>
                <a:ea typeface="Noto Sans"/>
                <a:cs typeface="+mn-ea"/>
                <a:sym typeface="Source Han Serif SC" panose="02020700000000000000" pitchFamily="18" charset="-122"/>
              </a:rPr>
              <a:t>NỘI DUNG CHÍNH</a:t>
            </a:r>
            <a:endParaRPr lang="vi-VN" altLang="vi-VN" sz="2800" b="1">
              <a:solidFill>
                <a:srgbClr val="004195"/>
              </a:solidFill>
              <a:latin typeface="Noto Sans"/>
              <a:ea typeface="Noto Sans"/>
              <a:cs typeface="+mn-ea"/>
              <a:sym typeface="Source Han Serif SC" panose="02020700000000000000" pitchFamily="18" charset="-122"/>
            </a:endParaRPr>
          </a:p>
        </p:txBody>
      </p:sp>
      <p:sp>
        <p:nvSpPr>
          <p:cNvPr id="2" name="Rectangle 3">
            <a:extLst>
              <a:ext uri="{FF2B5EF4-FFF2-40B4-BE49-F238E27FC236}">
                <a16:creationId xmlns:a16="http://schemas.microsoft.com/office/drawing/2014/main" id="{E63203F0-76BA-213A-94A3-51E34C49AA2C}"/>
              </a:ext>
            </a:extLst>
          </p:cNvPr>
          <p:cNvSpPr txBox="1">
            <a:spLocks noChangeArrowheads="1"/>
          </p:cNvSpPr>
          <p:nvPr/>
        </p:nvSpPr>
        <p:spPr bwMode="auto">
          <a:xfrm>
            <a:off x="939870" y="1242390"/>
            <a:ext cx="10281408" cy="4779962"/>
          </a:xfrm>
          <a:prstGeom prst="rect">
            <a:avLst/>
          </a:prstGeom>
          <a:noFill/>
          <a:ln>
            <a:noFill/>
          </a:ln>
          <a:effectLst/>
        </p:spPr>
        <p:txBody>
          <a:bodyPr/>
          <a:lstStyle>
            <a:lvl1pPr marL="342900" indent="-342900" algn="l" rtl="0" eaLnBrk="0" fontAlgn="base" hangingPunct="0">
              <a:spcBef>
                <a:spcPct val="20000"/>
              </a:spcBef>
              <a:spcAft>
                <a:spcPct val="0"/>
              </a:spcAft>
              <a:buClr>
                <a:schemeClr val="tx2"/>
              </a:buClr>
              <a:buFont typeface="Wingdings" panose="05000000000000000000" pitchFamily="2" charset="2"/>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Font typeface="Wingdings" panose="05000000000000000000" pitchFamily="2" charset="2"/>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tx1"/>
              </a:buClr>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400050" eaLnBrk="1" hangingPunct="1">
              <a:lnSpc>
                <a:spcPct val="150000"/>
              </a:lnSpc>
              <a:buFont typeface="Wingdings" panose="05000000000000000000" pitchFamily="2" charset="2"/>
              <a:buChar char="v"/>
              <a:defRPr/>
            </a:pPr>
            <a:r>
              <a:rPr lang="en-US" sz="2200" b="1" u="sng" err="1">
                <a:latin typeface="Times New Roman" panose="02020603050405020304" pitchFamily="18" charset="0"/>
                <a:cs typeface="Times New Roman" panose="02020603050405020304" pitchFamily="18" charset="0"/>
              </a:rPr>
              <a:t>Nội</a:t>
            </a:r>
            <a:r>
              <a:rPr lang="en-US" sz="2200" b="1" u="sng">
                <a:latin typeface="Times New Roman" panose="02020603050405020304" pitchFamily="18" charset="0"/>
                <a:cs typeface="Times New Roman" panose="02020603050405020304" pitchFamily="18" charset="0"/>
              </a:rPr>
              <a:t> dung chính</a:t>
            </a:r>
          </a:p>
          <a:p>
            <a:pPr marL="685800" lvl="2" indent="-285750" eaLnBrk="1" hangingPunct="1">
              <a:lnSpc>
                <a:spcPct val="150000"/>
              </a:lnSpc>
              <a:buClr>
                <a:schemeClr val="tx2"/>
              </a:buClr>
              <a:buFont typeface="Courier New" panose="02070309020205020404" pitchFamily="49" charset="0"/>
              <a:buChar char="o"/>
              <a:defRPr/>
            </a:pPr>
            <a:r>
              <a:rPr lang="en-US" sz="1800" err="1">
                <a:latin typeface="Times New Roman" panose="02020603050405020304" pitchFamily="18" charset="0"/>
                <a:cs typeface="Times New Roman" panose="02020603050405020304" pitchFamily="18" charset="0"/>
              </a:rPr>
              <a:t>Tìm</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hiều</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ứng</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dụng</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các</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ngôn</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ngữ</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lập</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rình</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vào</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hiết</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kế</a:t>
            </a:r>
            <a:r>
              <a:rPr lang="en-US" sz="1800">
                <a:latin typeface="Times New Roman" panose="02020603050405020304" pitchFamily="18" charset="0"/>
                <a:cs typeface="Times New Roman" panose="02020603050405020304" pitchFamily="18" charset="0"/>
              </a:rPr>
              <a:t> website (PHP , LARAVEL , MYSQL).</a:t>
            </a:r>
          </a:p>
          <a:p>
            <a:pPr marL="685800" lvl="2" indent="-285750" eaLnBrk="1" hangingPunct="1">
              <a:lnSpc>
                <a:spcPct val="150000"/>
              </a:lnSpc>
              <a:buClr>
                <a:schemeClr val="tx2"/>
              </a:buClr>
              <a:buFont typeface="Courier New" panose="02070309020205020404" pitchFamily="49" charset="0"/>
              <a:buChar char="o"/>
              <a:defRPr/>
            </a:pPr>
            <a:r>
              <a:rPr lang="en-US" sz="1800" err="1">
                <a:latin typeface="Times New Roman" panose="02020603050405020304" pitchFamily="18" charset="0"/>
                <a:cs typeface="Times New Roman" panose="02020603050405020304" pitchFamily="18" charset="0"/>
              </a:rPr>
              <a:t>Thiết</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kế</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đặc</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ả</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hệ</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hống</a:t>
            </a:r>
            <a:r>
              <a:rPr lang="en-US" sz="1800">
                <a:latin typeface="Times New Roman" panose="02020603050405020304" pitchFamily="18" charset="0"/>
                <a:cs typeface="Times New Roman" panose="02020603050405020304" pitchFamily="18" charset="0"/>
              </a:rPr>
              <a:t>.</a:t>
            </a:r>
          </a:p>
          <a:p>
            <a:pPr marL="685800" lvl="2" indent="-285750" eaLnBrk="1" hangingPunct="1">
              <a:lnSpc>
                <a:spcPct val="150000"/>
              </a:lnSpc>
              <a:buClr>
                <a:schemeClr val="tx2"/>
              </a:buClr>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Xây </a:t>
            </a:r>
            <a:r>
              <a:rPr lang="en-US" sz="1800" err="1">
                <a:latin typeface="Times New Roman" panose="02020603050405020304" pitchFamily="18" charset="0"/>
                <a:cs typeface="Times New Roman" panose="02020603050405020304" pitchFamily="18" charset="0"/>
              </a:rPr>
              <a:t>dưng</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cơ</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sở</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dữ</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liệu</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rên</a:t>
            </a:r>
            <a:r>
              <a:rPr lang="en-US" sz="1800">
                <a:latin typeface="Times New Roman" panose="02020603050405020304" pitchFamily="18" charset="0"/>
                <a:cs typeface="Times New Roman" panose="02020603050405020304" pitchFamily="18" charset="0"/>
              </a:rPr>
              <a:t> MySQL. </a:t>
            </a:r>
          </a:p>
          <a:p>
            <a:pPr marL="685800" lvl="2" indent="-285750" eaLnBrk="1" hangingPunct="1">
              <a:lnSpc>
                <a:spcPct val="150000"/>
              </a:lnSpc>
              <a:buClr>
                <a:schemeClr val="tx2"/>
              </a:buClr>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Xây </a:t>
            </a:r>
            <a:r>
              <a:rPr lang="en-US" sz="1800" err="1">
                <a:latin typeface="Times New Roman" panose="02020603050405020304" pitchFamily="18" charset="0"/>
                <a:cs typeface="Times New Roman" panose="02020603050405020304" pitchFamily="18" charset="0"/>
              </a:rPr>
              <a:t>dựng</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các</a:t>
            </a:r>
            <a:r>
              <a:rPr lang="en-US" sz="1800">
                <a:latin typeface="Times New Roman" panose="02020603050405020304" pitchFamily="18" charset="0"/>
                <a:cs typeface="Times New Roman" panose="02020603050405020304" pitchFamily="18" charset="0"/>
              </a:rPr>
              <a:t> module </a:t>
            </a:r>
            <a:r>
              <a:rPr lang="en-US" sz="1800" err="1">
                <a:latin typeface="Times New Roman" panose="02020603050405020304" pitchFamily="18" charset="0"/>
                <a:cs typeface="Times New Roman" panose="02020603050405020304" pitchFamily="18" charset="0"/>
              </a:rPr>
              <a:t>quản</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lý</a:t>
            </a:r>
            <a:r>
              <a:rPr lang="en-US" sz="1800">
                <a:latin typeface="Times New Roman" panose="02020603050405020304" pitchFamily="18" charset="0"/>
                <a:cs typeface="Times New Roman" panose="02020603050405020304" pitchFamily="18" charset="0"/>
              </a:rPr>
              <a:t>.</a:t>
            </a:r>
          </a:p>
          <a:p>
            <a:pPr marL="685800" lvl="2" indent="-285750" eaLnBrk="1" hangingPunct="1">
              <a:lnSpc>
                <a:spcPct val="150000"/>
              </a:lnSpc>
              <a:buClr>
                <a:schemeClr val="tx2"/>
              </a:buClr>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Tìm </a:t>
            </a:r>
            <a:r>
              <a:rPr lang="en-US" sz="1800" err="1">
                <a:latin typeface="Times New Roman" panose="02020603050405020304" pitchFamily="18" charset="0"/>
                <a:cs typeface="Times New Roman" panose="02020603050405020304" pitchFamily="18" charset="0"/>
              </a:rPr>
              <a:t>hiểu</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về</a:t>
            </a:r>
            <a:r>
              <a:rPr lang="en-US" sz="1800">
                <a:latin typeface="Times New Roman" panose="02020603050405020304" pitchFamily="18" charset="0"/>
                <a:cs typeface="Times New Roman" panose="02020603050405020304" pitchFamily="18" charset="0"/>
              </a:rPr>
              <a:t> PHP, LARAVEL, MySQL , </a:t>
            </a:r>
            <a:r>
              <a:rPr lang="en-US" sz="1800" err="1">
                <a:latin typeface="Times New Roman" panose="02020603050405020304" pitchFamily="18" charset="0"/>
                <a:cs typeface="Times New Roman" panose="02020603050405020304" pitchFamily="18" charset="0"/>
              </a:rPr>
              <a:t>phục</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vụ</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rong</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quá</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rình</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xây</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dựng</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rang</a:t>
            </a:r>
            <a:r>
              <a:rPr lang="en-US" sz="1800">
                <a:latin typeface="Times New Roman" panose="02020603050405020304" pitchFamily="18" charset="0"/>
                <a:cs typeface="Times New Roman" panose="02020603050405020304" pitchFamily="18" charset="0"/>
              </a:rPr>
              <a:t> web.</a:t>
            </a:r>
          </a:p>
          <a:p>
            <a:pPr marL="685800" lvl="2" indent="-285750" eaLnBrk="1" hangingPunct="1">
              <a:lnSpc>
                <a:spcPct val="150000"/>
              </a:lnSpc>
              <a:buClr>
                <a:schemeClr val="tx2"/>
              </a:buClr>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Website </a:t>
            </a:r>
            <a:r>
              <a:rPr lang="en-US" sz="1800" err="1">
                <a:latin typeface="Times New Roman" panose="02020603050405020304" pitchFamily="18" charset="0"/>
                <a:cs typeface="Times New Roman" panose="02020603050405020304" pitchFamily="18" charset="0"/>
              </a:rPr>
              <a:t>nhanh</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và</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hiệu</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quả</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hơn</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rong</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việc</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quản</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lý</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bán</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hàng</a:t>
            </a:r>
            <a:r>
              <a:rPr lang="en-US" sz="1800">
                <a:latin typeface="Times New Roman" panose="02020603050405020304" pitchFamily="18" charset="0"/>
                <a:cs typeface="Times New Roman" panose="02020603050405020304" pitchFamily="18" charset="0"/>
              </a:rPr>
              <a:t>.</a:t>
            </a:r>
          </a:p>
          <a:p>
            <a:pPr marL="685800" lvl="2" indent="-285750" eaLnBrk="1" hangingPunct="1">
              <a:lnSpc>
                <a:spcPct val="150000"/>
              </a:lnSpc>
              <a:buClr>
                <a:schemeClr val="tx2"/>
              </a:buClr>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Kiểm </a:t>
            </a:r>
            <a:r>
              <a:rPr lang="en-US" sz="1800" err="1">
                <a:latin typeface="Times New Roman" panose="02020603050405020304" pitchFamily="18" charset="0"/>
                <a:cs typeface="Times New Roman" panose="02020603050405020304" pitchFamily="18" charset="0"/>
              </a:rPr>
              <a:t>thử</a:t>
            </a:r>
            <a:r>
              <a:rPr lang="en-US" sz="1800">
                <a:latin typeface="Times New Roman" panose="02020603050405020304" pitchFamily="18" charset="0"/>
                <a:cs typeface="Times New Roman" panose="02020603050405020304" pitchFamily="18" charset="0"/>
              </a:rPr>
              <a:t> </a:t>
            </a:r>
          </a:p>
          <a:p>
            <a:pPr marL="685800" lvl="2" indent="-285750" eaLnBrk="1" hangingPunct="1">
              <a:lnSpc>
                <a:spcPct val="150000"/>
              </a:lnSpc>
              <a:buClr>
                <a:schemeClr val="tx2"/>
              </a:buClr>
              <a:buFont typeface="Courier New" panose="02070309020205020404" pitchFamily="49" charset="0"/>
              <a:buChar char="o"/>
              <a:defRPr/>
            </a:pPr>
            <a:r>
              <a:rPr lang="en-US" sz="1800">
                <a:latin typeface="Times New Roman" panose="02020603050405020304" pitchFamily="18" charset="0"/>
                <a:cs typeface="Times New Roman" panose="02020603050405020304" pitchFamily="18" charset="0"/>
              </a:rPr>
              <a:t>Bảo </a:t>
            </a:r>
            <a:r>
              <a:rPr lang="en-US" sz="1800" err="1">
                <a:latin typeface="Times New Roman" panose="02020603050405020304" pitchFamily="18" charset="0"/>
                <a:cs typeface="Times New Roman" panose="02020603050405020304" pitchFamily="18" charset="0"/>
              </a:rPr>
              <a:t>trì</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hệ</a:t>
            </a:r>
            <a:r>
              <a:rPr lang="en-US" sz="1800">
                <a:latin typeface="Times New Roman" panose="02020603050405020304" pitchFamily="18" charset="0"/>
                <a:cs typeface="Times New Roman" panose="02020603050405020304" pitchFamily="18" charset="0"/>
              </a:rPr>
              <a:t> </a:t>
            </a:r>
            <a:r>
              <a:rPr lang="en-US" sz="1800" err="1">
                <a:latin typeface="Times New Roman" panose="02020603050405020304" pitchFamily="18" charset="0"/>
                <a:cs typeface="Times New Roman" panose="02020603050405020304" pitchFamily="18" charset="0"/>
              </a:rPr>
              <a:t>thống</a:t>
            </a:r>
            <a:r>
              <a:rPr lang="en-US" sz="1400">
                <a:latin typeface="Times New Roman" panose="02020603050405020304" pitchFamily="18" charset="0"/>
                <a:cs typeface="Times New Roman" panose="02020603050405020304" pitchFamily="18" charset="0"/>
              </a:rPr>
              <a:t> </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80">
                                          <p:stCondLst>
                                            <p:cond delay="0"/>
                                          </p:stCondLst>
                                        </p:cTn>
                                        <p:tgtEl>
                                          <p:spTgt spid="2">
                                            <p:txEl>
                                              <p:pRg st="0" end="0"/>
                                            </p:txEl>
                                          </p:spTgt>
                                        </p:tgtEl>
                                      </p:cBhvr>
                                    </p:animEffect>
                                    <p:anim calcmode="lin" valueType="num">
                                      <p:cBhvr>
                                        <p:cTn id="8" dur="1822" tmFilter="0,0; 0.14,0.36; 0.43,0.73; 0.71,0.91; 1.0,1.0">
                                          <p:stCondLst>
                                            <p:cond delay="0"/>
                                          </p:stCondLst>
                                        </p:cTn>
                                        <p:tgtEl>
                                          <p:spTgt spid="2">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xEl>
                                              <p:pRg st="0" end="0"/>
                                            </p:txEl>
                                          </p:spTgt>
                                        </p:tgtEl>
                                      </p:cBhvr>
                                      <p:to x="100000" y="60000"/>
                                    </p:animScale>
                                    <p:animScale>
                                      <p:cBhvr>
                                        <p:cTn id="14" dur="166" decel="50000">
                                          <p:stCondLst>
                                            <p:cond delay="676"/>
                                          </p:stCondLst>
                                        </p:cTn>
                                        <p:tgtEl>
                                          <p:spTgt spid="2">
                                            <p:txEl>
                                              <p:pRg st="0" end="0"/>
                                            </p:txEl>
                                          </p:spTgt>
                                        </p:tgtEl>
                                      </p:cBhvr>
                                      <p:to x="100000" y="100000"/>
                                    </p:animScale>
                                    <p:animScale>
                                      <p:cBhvr>
                                        <p:cTn id="15" dur="26">
                                          <p:stCondLst>
                                            <p:cond delay="1312"/>
                                          </p:stCondLst>
                                        </p:cTn>
                                        <p:tgtEl>
                                          <p:spTgt spid="2">
                                            <p:txEl>
                                              <p:pRg st="0" end="0"/>
                                            </p:txEl>
                                          </p:spTgt>
                                        </p:tgtEl>
                                      </p:cBhvr>
                                      <p:to x="100000" y="80000"/>
                                    </p:animScale>
                                    <p:animScale>
                                      <p:cBhvr>
                                        <p:cTn id="16" dur="166" decel="50000">
                                          <p:stCondLst>
                                            <p:cond delay="1338"/>
                                          </p:stCondLst>
                                        </p:cTn>
                                        <p:tgtEl>
                                          <p:spTgt spid="2">
                                            <p:txEl>
                                              <p:pRg st="0" end="0"/>
                                            </p:txEl>
                                          </p:spTgt>
                                        </p:tgtEl>
                                      </p:cBhvr>
                                      <p:to x="100000" y="100000"/>
                                    </p:animScale>
                                    <p:animScale>
                                      <p:cBhvr>
                                        <p:cTn id="17" dur="26">
                                          <p:stCondLst>
                                            <p:cond delay="1642"/>
                                          </p:stCondLst>
                                        </p:cTn>
                                        <p:tgtEl>
                                          <p:spTgt spid="2">
                                            <p:txEl>
                                              <p:pRg st="0" end="0"/>
                                            </p:txEl>
                                          </p:spTgt>
                                        </p:tgtEl>
                                      </p:cBhvr>
                                      <p:to x="100000" y="90000"/>
                                    </p:animScale>
                                    <p:animScale>
                                      <p:cBhvr>
                                        <p:cTn id="18" dur="166" decel="50000">
                                          <p:stCondLst>
                                            <p:cond delay="1668"/>
                                          </p:stCondLst>
                                        </p:cTn>
                                        <p:tgtEl>
                                          <p:spTgt spid="2">
                                            <p:txEl>
                                              <p:pRg st="0" end="0"/>
                                            </p:txEl>
                                          </p:spTgt>
                                        </p:tgtEl>
                                      </p:cBhvr>
                                      <p:to x="100000" y="100000"/>
                                    </p:animScale>
                                    <p:animScale>
                                      <p:cBhvr>
                                        <p:cTn id="19" dur="26">
                                          <p:stCondLst>
                                            <p:cond delay="1808"/>
                                          </p:stCondLst>
                                        </p:cTn>
                                        <p:tgtEl>
                                          <p:spTgt spid="2">
                                            <p:txEl>
                                              <p:pRg st="0" end="0"/>
                                            </p:txEl>
                                          </p:spTgt>
                                        </p:tgtEl>
                                      </p:cBhvr>
                                      <p:to x="100000" y="95000"/>
                                    </p:animScale>
                                    <p:animScale>
                                      <p:cBhvr>
                                        <p:cTn id="20" dur="166" decel="50000">
                                          <p:stCondLst>
                                            <p:cond delay="1834"/>
                                          </p:stCondLst>
                                        </p:cTn>
                                        <p:tgtEl>
                                          <p:spTgt spid="2">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2">
                                            <p:txEl>
                                              <p:pRg st="1" end="1"/>
                                            </p:txEl>
                                          </p:spTgt>
                                        </p:tgtEl>
                                        <p:attrNameLst>
                                          <p:attrName>style.visibility</p:attrName>
                                        </p:attrNameLst>
                                      </p:cBhvr>
                                      <p:to>
                                        <p:strVal val="visible"/>
                                      </p:to>
                                    </p:set>
                                    <p:animEffect transition="in" filter="fade">
                                      <p:cBhvr>
                                        <p:cTn id="25" dur="1000"/>
                                        <p:tgtEl>
                                          <p:spTgt spid="2">
                                            <p:txEl>
                                              <p:pRg st="1" end="1"/>
                                            </p:txEl>
                                          </p:spTgt>
                                        </p:tgtEl>
                                      </p:cBhvr>
                                    </p:animEffect>
                                    <p:anim calcmode="lin" valueType="num">
                                      <p:cBhvr>
                                        <p:cTn id="26"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27" dur="1000" fill="hold"/>
                                        <p:tgtEl>
                                          <p:spTgt spid="2">
                                            <p:txEl>
                                              <p:pRg st="1" end="1"/>
                                            </p:txEl>
                                          </p:spTgt>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2">
                                            <p:txEl>
                                              <p:pRg st="2" end="2"/>
                                            </p:txEl>
                                          </p:spTgt>
                                        </p:tgtEl>
                                        <p:attrNameLst>
                                          <p:attrName>style.visibility</p:attrName>
                                        </p:attrNameLst>
                                      </p:cBhvr>
                                      <p:to>
                                        <p:strVal val="visible"/>
                                      </p:to>
                                    </p:set>
                                    <p:animEffect transition="in" filter="fade">
                                      <p:cBhvr>
                                        <p:cTn id="30" dur="1000"/>
                                        <p:tgtEl>
                                          <p:spTgt spid="2">
                                            <p:txEl>
                                              <p:pRg st="2" end="2"/>
                                            </p:txEl>
                                          </p:spTgt>
                                        </p:tgtEl>
                                      </p:cBhvr>
                                    </p:animEffect>
                                    <p:anim calcmode="lin" valueType="num">
                                      <p:cBhvr>
                                        <p:cTn id="31"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32" dur="1000" fill="hold"/>
                                        <p:tgtEl>
                                          <p:spTgt spid="2">
                                            <p:txEl>
                                              <p:pRg st="2" end="2"/>
                                            </p:txEl>
                                          </p:spTgt>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2">
                                            <p:txEl>
                                              <p:pRg st="3" end="3"/>
                                            </p:txEl>
                                          </p:spTgt>
                                        </p:tgtEl>
                                        <p:attrNameLst>
                                          <p:attrName>style.visibility</p:attrName>
                                        </p:attrNameLst>
                                      </p:cBhvr>
                                      <p:to>
                                        <p:strVal val="visible"/>
                                      </p:to>
                                    </p:set>
                                    <p:animEffect transition="in" filter="fade">
                                      <p:cBhvr>
                                        <p:cTn id="35" dur="1000"/>
                                        <p:tgtEl>
                                          <p:spTgt spid="2">
                                            <p:txEl>
                                              <p:pRg st="3" end="3"/>
                                            </p:txEl>
                                          </p:spTgt>
                                        </p:tgtEl>
                                      </p:cBhvr>
                                    </p:animEffect>
                                    <p:anim calcmode="lin" valueType="num">
                                      <p:cBhvr>
                                        <p:cTn id="36"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37" dur="1000" fill="hold"/>
                                        <p:tgtEl>
                                          <p:spTgt spid="2">
                                            <p:txEl>
                                              <p:pRg st="3" end="3"/>
                                            </p:txEl>
                                          </p:spTgt>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2">
                                            <p:txEl>
                                              <p:pRg st="4" end="4"/>
                                            </p:txEl>
                                          </p:spTgt>
                                        </p:tgtEl>
                                        <p:attrNameLst>
                                          <p:attrName>style.visibility</p:attrName>
                                        </p:attrNameLst>
                                      </p:cBhvr>
                                      <p:to>
                                        <p:strVal val="visible"/>
                                      </p:to>
                                    </p:set>
                                    <p:animEffect transition="in" filter="fade">
                                      <p:cBhvr>
                                        <p:cTn id="40" dur="1000"/>
                                        <p:tgtEl>
                                          <p:spTgt spid="2">
                                            <p:txEl>
                                              <p:pRg st="4" end="4"/>
                                            </p:txEl>
                                          </p:spTgt>
                                        </p:tgtEl>
                                      </p:cBhvr>
                                    </p:animEffect>
                                    <p:anim calcmode="lin" valueType="num">
                                      <p:cBhvr>
                                        <p:cTn id="41"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42" dur="1000" fill="hold"/>
                                        <p:tgtEl>
                                          <p:spTgt spid="2">
                                            <p:txEl>
                                              <p:pRg st="4" end="4"/>
                                            </p:txEl>
                                          </p:spTgt>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2">
                                            <p:txEl>
                                              <p:pRg st="5" end="5"/>
                                            </p:txEl>
                                          </p:spTgt>
                                        </p:tgtEl>
                                        <p:attrNameLst>
                                          <p:attrName>style.visibility</p:attrName>
                                        </p:attrNameLst>
                                      </p:cBhvr>
                                      <p:to>
                                        <p:strVal val="visible"/>
                                      </p:to>
                                    </p:set>
                                    <p:animEffect transition="in" filter="fade">
                                      <p:cBhvr>
                                        <p:cTn id="45" dur="1000"/>
                                        <p:tgtEl>
                                          <p:spTgt spid="2">
                                            <p:txEl>
                                              <p:pRg st="5" end="5"/>
                                            </p:txEl>
                                          </p:spTgt>
                                        </p:tgtEl>
                                      </p:cBhvr>
                                    </p:animEffect>
                                    <p:anim calcmode="lin" valueType="num">
                                      <p:cBhvr>
                                        <p:cTn id="46" dur="1000" fill="hold"/>
                                        <p:tgtEl>
                                          <p:spTgt spid="2">
                                            <p:txEl>
                                              <p:pRg st="5" end="5"/>
                                            </p:txEl>
                                          </p:spTgt>
                                        </p:tgtEl>
                                        <p:attrNameLst>
                                          <p:attrName>ppt_x</p:attrName>
                                        </p:attrNameLst>
                                      </p:cBhvr>
                                      <p:tavLst>
                                        <p:tav tm="0">
                                          <p:val>
                                            <p:strVal val="#ppt_x"/>
                                          </p:val>
                                        </p:tav>
                                        <p:tav tm="100000">
                                          <p:val>
                                            <p:strVal val="#ppt_x"/>
                                          </p:val>
                                        </p:tav>
                                      </p:tavLst>
                                    </p:anim>
                                    <p:anim calcmode="lin" valueType="num">
                                      <p:cBhvr>
                                        <p:cTn id="47" dur="1000" fill="hold"/>
                                        <p:tgtEl>
                                          <p:spTgt spid="2">
                                            <p:txEl>
                                              <p:pRg st="5" end="5"/>
                                            </p:txEl>
                                          </p:spTgt>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2">
                                            <p:txEl>
                                              <p:pRg st="6" end="6"/>
                                            </p:txEl>
                                          </p:spTgt>
                                        </p:tgtEl>
                                        <p:attrNameLst>
                                          <p:attrName>style.visibility</p:attrName>
                                        </p:attrNameLst>
                                      </p:cBhvr>
                                      <p:to>
                                        <p:strVal val="visible"/>
                                      </p:to>
                                    </p:set>
                                    <p:animEffect transition="in" filter="fade">
                                      <p:cBhvr>
                                        <p:cTn id="50" dur="1000"/>
                                        <p:tgtEl>
                                          <p:spTgt spid="2">
                                            <p:txEl>
                                              <p:pRg st="6" end="6"/>
                                            </p:txEl>
                                          </p:spTgt>
                                        </p:tgtEl>
                                      </p:cBhvr>
                                    </p:animEffect>
                                    <p:anim calcmode="lin" valueType="num">
                                      <p:cBhvr>
                                        <p:cTn id="51" dur="1000" fill="hold"/>
                                        <p:tgtEl>
                                          <p:spTgt spid="2">
                                            <p:txEl>
                                              <p:pRg st="6" end="6"/>
                                            </p:txEl>
                                          </p:spTgt>
                                        </p:tgtEl>
                                        <p:attrNameLst>
                                          <p:attrName>ppt_x</p:attrName>
                                        </p:attrNameLst>
                                      </p:cBhvr>
                                      <p:tavLst>
                                        <p:tav tm="0">
                                          <p:val>
                                            <p:strVal val="#ppt_x"/>
                                          </p:val>
                                        </p:tav>
                                        <p:tav tm="100000">
                                          <p:val>
                                            <p:strVal val="#ppt_x"/>
                                          </p:val>
                                        </p:tav>
                                      </p:tavLst>
                                    </p:anim>
                                    <p:anim calcmode="lin" valueType="num">
                                      <p:cBhvr>
                                        <p:cTn id="52" dur="1000" fill="hold"/>
                                        <p:tgtEl>
                                          <p:spTgt spid="2">
                                            <p:txEl>
                                              <p:pRg st="6" end="6"/>
                                            </p:txEl>
                                          </p:spTgt>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0"/>
                                  </p:stCondLst>
                                  <p:childTnLst>
                                    <p:set>
                                      <p:cBhvr>
                                        <p:cTn id="54" dur="1" fill="hold">
                                          <p:stCondLst>
                                            <p:cond delay="0"/>
                                          </p:stCondLst>
                                        </p:cTn>
                                        <p:tgtEl>
                                          <p:spTgt spid="2">
                                            <p:txEl>
                                              <p:pRg st="7" end="7"/>
                                            </p:txEl>
                                          </p:spTgt>
                                        </p:tgtEl>
                                        <p:attrNameLst>
                                          <p:attrName>style.visibility</p:attrName>
                                        </p:attrNameLst>
                                      </p:cBhvr>
                                      <p:to>
                                        <p:strVal val="visible"/>
                                      </p:to>
                                    </p:set>
                                    <p:animEffect transition="in" filter="fade">
                                      <p:cBhvr>
                                        <p:cTn id="55" dur="1000"/>
                                        <p:tgtEl>
                                          <p:spTgt spid="2">
                                            <p:txEl>
                                              <p:pRg st="7" end="7"/>
                                            </p:txEl>
                                          </p:spTgt>
                                        </p:tgtEl>
                                      </p:cBhvr>
                                    </p:animEffect>
                                    <p:anim calcmode="lin" valueType="num">
                                      <p:cBhvr>
                                        <p:cTn id="56" dur="1000" fill="hold"/>
                                        <p:tgtEl>
                                          <p:spTgt spid="2">
                                            <p:txEl>
                                              <p:pRg st="7" end="7"/>
                                            </p:txEl>
                                          </p:spTgt>
                                        </p:tgtEl>
                                        <p:attrNameLst>
                                          <p:attrName>ppt_x</p:attrName>
                                        </p:attrNameLst>
                                      </p:cBhvr>
                                      <p:tavLst>
                                        <p:tav tm="0">
                                          <p:val>
                                            <p:strVal val="#ppt_x"/>
                                          </p:val>
                                        </p:tav>
                                        <p:tav tm="100000">
                                          <p:val>
                                            <p:strVal val="#ppt_x"/>
                                          </p:val>
                                        </p:tav>
                                      </p:tavLst>
                                    </p:anim>
                                    <p:anim calcmode="lin" valueType="num">
                                      <p:cBhvr>
                                        <p:cTn id="57" dur="1000" fill="hold"/>
                                        <p:tgtEl>
                                          <p:spTgt spid="2">
                                            <p:txEl>
                                              <p:pRg st="7" end="7"/>
                                            </p:txEl>
                                          </p:spTgt>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2">
                                            <p:txEl>
                                              <p:pRg st="8" end="8"/>
                                            </p:txEl>
                                          </p:spTgt>
                                        </p:tgtEl>
                                        <p:attrNameLst>
                                          <p:attrName>style.visibility</p:attrName>
                                        </p:attrNameLst>
                                      </p:cBhvr>
                                      <p:to>
                                        <p:strVal val="visible"/>
                                      </p:to>
                                    </p:set>
                                    <p:animEffect transition="in" filter="fade">
                                      <p:cBhvr>
                                        <p:cTn id="60" dur="1000"/>
                                        <p:tgtEl>
                                          <p:spTgt spid="2">
                                            <p:txEl>
                                              <p:pRg st="8" end="8"/>
                                            </p:txEl>
                                          </p:spTgt>
                                        </p:tgtEl>
                                      </p:cBhvr>
                                    </p:animEffect>
                                    <p:anim calcmode="lin" valueType="num">
                                      <p:cBhvr>
                                        <p:cTn id="61" dur="1000" fill="hold"/>
                                        <p:tgtEl>
                                          <p:spTgt spid="2">
                                            <p:txEl>
                                              <p:pRg st="8" end="8"/>
                                            </p:txEl>
                                          </p:spTgt>
                                        </p:tgtEl>
                                        <p:attrNameLst>
                                          <p:attrName>ppt_x</p:attrName>
                                        </p:attrNameLst>
                                      </p:cBhvr>
                                      <p:tavLst>
                                        <p:tav tm="0">
                                          <p:val>
                                            <p:strVal val="#ppt_x"/>
                                          </p:val>
                                        </p:tav>
                                        <p:tav tm="100000">
                                          <p:val>
                                            <p:strVal val="#ppt_x"/>
                                          </p:val>
                                        </p:tav>
                                      </p:tavLst>
                                    </p:anim>
                                    <p:anim calcmode="lin" valueType="num">
                                      <p:cBhvr>
                                        <p:cTn id="62" dur="1000" fill="hold"/>
                                        <p:tgtEl>
                                          <p:spTgt spid="2">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椭圆 5">
            <a:extLst>
              <a:ext uri="{FF2B5EF4-FFF2-40B4-BE49-F238E27FC236}">
                <a16:creationId xmlns:a16="http://schemas.microsoft.com/office/drawing/2014/main" id="{6C5E6270-26FB-47E2-9114-EB81508C45AE}"/>
              </a:ext>
            </a:extLst>
          </p:cNvPr>
          <p:cNvSpPr/>
          <p:nvPr/>
        </p:nvSpPr>
        <p:spPr>
          <a:xfrm>
            <a:off x="3243737" y="569502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7" name="椭圆 6">
            <a:extLst>
              <a:ext uri="{FF2B5EF4-FFF2-40B4-BE49-F238E27FC236}">
                <a16:creationId xmlns:a16="http://schemas.microsoft.com/office/drawing/2014/main" id="{60A3DE71-09BB-4D17-B554-59A65FBECDEC}"/>
              </a:ext>
            </a:extLst>
          </p:cNvPr>
          <p:cNvSpPr/>
          <p:nvPr/>
        </p:nvSpPr>
        <p:spPr>
          <a:xfrm>
            <a:off x="566544" y="180845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8" name="椭圆 7">
            <a:extLst>
              <a:ext uri="{FF2B5EF4-FFF2-40B4-BE49-F238E27FC236}">
                <a16:creationId xmlns:a16="http://schemas.microsoft.com/office/drawing/2014/main" id="{42BB076E-19ED-4A80-A65B-7DC8105846BD}"/>
              </a:ext>
            </a:extLst>
          </p:cNvPr>
          <p:cNvSpPr/>
          <p:nvPr/>
        </p:nvSpPr>
        <p:spPr>
          <a:xfrm>
            <a:off x="10099832" y="4661880"/>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9" name="椭圆 8">
            <a:extLst>
              <a:ext uri="{FF2B5EF4-FFF2-40B4-BE49-F238E27FC236}">
                <a16:creationId xmlns:a16="http://schemas.microsoft.com/office/drawing/2014/main" id="{4301B9C5-B076-4F9C-A26E-A66B97A133F6}"/>
              </a:ext>
            </a:extLst>
          </p:cNvPr>
          <p:cNvSpPr/>
          <p:nvPr/>
        </p:nvSpPr>
        <p:spPr>
          <a:xfrm>
            <a:off x="8865359" y="430505"/>
            <a:ext cx="657076" cy="657076"/>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20" name="文本框 19"/>
          <p:cNvSpPr txBox="1"/>
          <p:nvPr/>
        </p:nvSpPr>
        <p:spPr>
          <a:xfrm>
            <a:off x="1114290" y="2771342"/>
            <a:ext cx="10405163" cy="1540103"/>
          </a:xfrm>
          <a:prstGeom prst="rect">
            <a:avLst/>
          </a:prstGeom>
          <a:noFill/>
        </p:spPr>
        <p:txBody>
          <a:bodyPr wrap="square" rtlCol="0">
            <a:noAutofit/>
          </a:bodyPr>
          <a:lstStyle/>
          <a:p>
            <a:pPr algn="ctr"/>
            <a:r>
              <a:rPr lang="en-US" altLang="en-US" sz="4000" b="1">
                <a:solidFill>
                  <a:schemeClr val="bg1"/>
                </a:solidFill>
                <a:latin typeface="Times New Roman" panose="02020603050405020304" pitchFamily="18" charset="0"/>
                <a:cs typeface="Times New Roman" panose="02020603050405020304" pitchFamily="18" charset="0"/>
              </a:rPr>
              <a:t>Giới thiệu về công nghệ thiết kế website</a:t>
            </a:r>
            <a:endParaRPr lang="vi-VN" altLang="vi-VN" sz="2800" b="1">
              <a:solidFill>
                <a:schemeClr val="bg1"/>
              </a:solidFill>
              <a:latin typeface="Times New Roman" panose="02020603050405020304" pitchFamily="18" charset="0"/>
              <a:ea typeface="Noto Sans"/>
              <a:cs typeface="Times New Roman" panose="02020603050405020304" pitchFamily="18" charset="0"/>
              <a:sym typeface="Source Han Serif SC" panose="02020700000000000000" pitchFamily="18" charset="-122"/>
            </a:endParaRPr>
          </a:p>
        </p:txBody>
      </p:sp>
      <p:sp>
        <p:nvSpPr>
          <p:cNvPr id="43" name="文本框 42"/>
          <p:cNvSpPr txBox="1"/>
          <p:nvPr/>
        </p:nvSpPr>
        <p:spPr>
          <a:xfrm>
            <a:off x="3100669" y="1701109"/>
            <a:ext cx="6093228" cy="701040"/>
          </a:xfrm>
          <a:prstGeom prst="rect">
            <a:avLst/>
          </a:prstGeom>
          <a:noFill/>
        </p:spPr>
        <p:txBody>
          <a:bodyPr wrap="square">
            <a:normAutofit/>
          </a:bodyPr>
          <a:lstStyle/>
          <a:p>
            <a:pPr algn="ctr"/>
            <a:r>
              <a:rPr lang="vi-VN" altLang="vi-VN" sz="4000" b="1">
                <a:solidFill>
                  <a:schemeClr val="bg1"/>
                </a:solidFill>
                <a:latin typeface="Noto Sans"/>
                <a:ea typeface="Noto Sans"/>
                <a:cs typeface="+mn-ea"/>
                <a:sym typeface="Source Han Serif SC" panose="02020700000000000000" pitchFamily="18" charset="-122"/>
              </a:rPr>
              <a:t>PHẦN 01</a:t>
            </a:r>
          </a:p>
        </p:txBody>
      </p:sp>
    </p:spTree>
    <p:extLst>
      <p:ext uri="{BB962C8B-B14F-4D97-AF65-F5344CB8AC3E}">
        <p14:creationId xmlns:p14="http://schemas.microsoft.com/office/powerpoint/2010/main" val="224761571"/>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3367709" y="506729"/>
            <a:ext cx="5456582" cy="1146778"/>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CÔNG NGHỆ THIẾT KẾ WEBSITE</a:t>
            </a:r>
            <a:endParaRPr lang="vi-VN" altLang="vi-VN" sz="2600" b="1">
              <a:solidFill>
                <a:srgbClr val="004195"/>
              </a:solidFill>
              <a:latin typeface="Noto Sans"/>
              <a:ea typeface="Noto Sans"/>
              <a:cs typeface="+mn-ea"/>
              <a:sym typeface="Source Han Serif SC" panose="02020700000000000000" pitchFamily="18" charset="-122"/>
            </a:endParaRPr>
          </a:p>
        </p:txBody>
      </p:sp>
      <p:pic>
        <p:nvPicPr>
          <p:cNvPr id="2" name="Picture 1">
            <a:extLst>
              <a:ext uri="{FF2B5EF4-FFF2-40B4-BE49-F238E27FC236}">
                <a16:creationId xmlns:a16="http://schemas.microsoft.com/office/drawing/2014/main" id="{9EA66B23-0999-517E-A14A-D1A9D454B10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4276" y="1175232"/>
            <a:ext cx="6867525" cy="4507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reeform 22">
            <a:extLst>
              <a:ext uri="{FF2B5EF4-FFF2-40B4-BE49-F238E27FC236}">
                <a16:creationId xmlns:a16="http://schemas.microsoft.com/office/drawing/2014/main" id="{0979A618-1A62-B347-5BF9-6EC033E4EBDB}"/>
              </a:ext>
            </a:extLst>
          </p:cNvPr>
          <p:cNvSpPr/>
          <p:nvPr/>
        </p:nvSpPr>
        <p:spPr>
          <a:xfrm>
            <a:off x="3543231" y="1175231"/>
            <a:ext cx="1835150" cy="1587500"/>
          </a:xfrm>
          <a:custGeom>
            <a:avLst/>
            <a:gdLst>
              <a:gd name="connsiteX0" fmla="*/ 0 w 1835025"/>
              <a:gd name="connsiteY0" fmla="*/ 793756 h 1587512"/>
              <a:gd name="connsiteX1" fmla="*/ 453552 w 1835025"/>
              <a:gd name="connsiteY1" fmla="*/ 0 h 1587512"/>
              <a:gd name="connsiteX2" fmla="*/ 1381473 w 1835025"/>
              <a:gd name="connsiteY2" fmla="*/ 0 h 1587512"/>
              <a:gd name="connsiteX3" fmla="*/ 1835025 w 1835025"/>
              <a:gd name="connsiteY3" fmla="*/ 793756 h 1587512"/>
              <a:gd name="connsiteX4" fmla="*/ 1381473 w 1835025"/>
              <a:gd name="connsiteY4" fmla="*/ 1587512 h 1587512"/>
              <a:gd name="connsiteX5" fmla="*/ 453552 w 1835025"/>
              <a:gd name="connsiteY5" fmla="*/ 1587512 h 1587512"/>
              <a:gd name="connsiteX6" fmla="*/ 0 w 1835025"/>
              <a:gd name="connsiteY6" fmla="*/ 793756 h 1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025" h="1587512">
                <a:moveTo>
                  <a:pt x="0" y="793756"/>
                </a:moveTo>
                <a:lnTo>
                  <a:pt x="453552" y="0"/>
                </a:lnTo>
                <a:lnTo>
                  <a:pt x="1381473" y="0"/>
                </a:lnTo>
                <a:lnTo>
                  <a:pt x="1835025" y="793756"/>
                </a:lnTo>
                <a:lnTo>
                  <a:pt x="1381473" y="1587512"/>
                </a:lnTo>
                <a:lnTo>
                  <a:pt x="453552" y="1587512"/>
                </a:lnTo>
                <a:lnTo>
                  <a:pt x="0" y="793756"/>
                </a:lnTo>
                <a:close/>
              </a:path>
            </a:pathLst>
          </a:custGeom>
          <a:solidFill>
            <a:srgbClr val="00B0F0"/>
          </a:solidFill>
          <a:ln w="19050">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lIns="353633" tIns="312615" rIns="353633" bIns="312615" spcCol="1270" anchor="ctr"/>
          <a:lstStyle/>
          <a:p>
            <a:pPr algn="ctr" defTabSz="1733550">
              <a:lnSpc>
                <a:spcPct val="90000"/>
              </a:lnSpc>
              <a:spcAft>
                <a:spcPct val="35000"/>
              </a:spcAft>
              <a:defRPr/>
            </a:pPr>
            <a:r>
              <a:rPr lang="vi-VN" sz="2000" b="1">
                <a:latin typeface="Calibri" panose="020F0502020204030204" pitchFamily="34" charset="0"/>
                <a:cs typeface="Calibri" panose="020F0502020204030204" pitchFamily="34" charset="0"/>
              </a:rPr>
              <a:t>HTML</a:t>
            </a:r>
          </a:p>
          <a:p>
            <a:pPr algn="ctr" defTabSz="1733550">
              <a:lnSpc>
                <a:spcPct val="90000"/>
              </a:lnSpc>
              <a:spcAft>
                <a:spcPct val="35000"/>
              </a:spcAft>
              <a:defRPr/>
            </a:pPr>
            <a:r>
              <a:rPr lang="vi-VN" sz="2000" b="1">
                <a:latin typeface="Calibri" panose="020F0502020204030204" pitchFamily="34" charset="0"/>
                <a:cs typeface="Calibri" panose="020F0502020204030204" pitchFamily="34" charset="0"/>
              </a:rPr>
              <a:t>CSS</a:t>
            </a:r>
          </a:p>
          <a:p>
            <a:pPr algn="ctr" defTabSz="1733550">
              <a:lnSpc>
                <a:spcPct val="90000"/>
              </a:lnSpc>
              <a:spcAft>
                <a:spcPct val="35000"/>
              </a:spcAft>
              <a:defRPr/>
            </a:pPr>
            <a:r>
              <a:rPr lang="en-GB" sz="2000" b="1">
                <a:latin typeface="Calibri" panose="020F0502020204030204" pitchFamily="34" charset="0"/>
                <a:cs typeface="Calibri" panose="020F0502020204030204" pitchFamily="34" charset="0"/>
              </a:rPr>
              <a:t>JavaScript</a:t>
            </a:r>
          </a:p>
        </p:txBody>
      </p:sp>
      <p:sp>
        <p:nvSpPr>
          <p:cNvPr id="4" name="Line Callout 1 24">
            <a:extLst>
              <a:ext uri="{FF2B5EF4-FFF2-40B4-BE49-F238E27FC236}">
                <a16:creationId xmlns:a16="http://schemas.microsoft.com/office/drawing/2014/main" id="{5FD71E6B-F40B-676A-4E8F-40F5D15B92F6}"/>
              </a:ext>
            </a:extLst>
          </p:cNvPr>
          <p:cNvSpPr/>
          <p:nvPr/>
        </p:nvSpPr>
        <p:spPr>
          <a:xfrm>
            <a:off x="6937513" y="1175233"/>
            <a:ext cx="4930638" cy="5105250"/>
          </a:xfrm>
          <a:prstGeom prst="borderCallout1">
            <a:avLst>
              <a:gd name="adj1" fmla="val 31058"/>
              <a:gd name="adj2" fmla="val -133"/>
              <a:gd name="adj3" fmla="val 15765"/>
              <a:gd name="adj4" fmla="val -33036"/>
            </a:avLst>
          </a:prstGeom>
          <a:ln w="19050">
            <a:solidFill>
              <a:srgbClr val="00B0F0"/>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anchor="ctr"/>
          <a:lstStyle/>
          <a:p>
            <a:pPr marL="285750" indent="-285750" algn="just">
              <a:lnSpc>
                <a:spcPct val="150000"/>
              </a:lnSpc>
              <a:buFont typeface="Wingdings" panose="05000000000000000000" pitchFamily="2" charset="2"/>
              <a:buChar char="ü"/>
              <a:defRPr/>
            </a:pPr>
            <a:r>
              <a:rPr lang="en-US">
                <a:latin typeface="Times New Roman" panose="02020603050405020304" pitchFamily="18" charset="0"/>
                <a:cs typeface="Times New Roman" panose="02020603050405020304" pitchFamily="18" charset="0"/>
              </a:rPr>
              <a:t>HTML :Ngôn ngữ đánh dấu siêu văn bản được sử dụng để tạo các tài liệu có thể truy cập trên mạng. Tài liệu HTML được tạo nhờ dùng các thẻ và các phần tử của HTML.</a:t>
            </a:r>
          </a:p>
          <a:p>
            <a:pPr marL="285750" indent="-285750">
              <a:lnSpc>
                <a:spcPct val="150000"/>
              </a:lnSpc>
              <a:buFont typeface="Wingdings" panose="05000000000000000000" pitchFamily="2" charset="2"/>
              <a:buChar char="ü"/>
              <a:defRPr/>
            </a:pPr>
            <a:r>
              <a:rPr lang="en-US">
                <a:latin typeface="Times New Roman" panose="02020603050405020304" pitchFamily="18" charset="0"/>
                <a:cs typeface="Times New Roman" panose="02020603050405020304" pitchFamily="18" charset="0"/>
              </a:rPr>
              <a:t> </a:t>
            </a:r>
            <a:r>
              <a:rPr lang="vi-VN">
                <a:latin typeface="Times New Roman" panose="02020603050405020304" pitchFamily="18" charset="0"/>
                <a:cs typeface="Times New Roman" panose="02020603050405020304" pitchFamily="18" charset="0"/>
              </a:rPr>
              <a:t>CSS (Cascading Style Sheets) là một ngôn ngữ quy định cách trình</a:t>
            </a:r>
            <a:r>
              <a:rPr lang="en-US">
                <a:latin typeface="Times New Roman" panose="02020603050405020304" pitchFamily="18" charset="0"/>
                <a:cs typeface="Times New Roman" panose="02020603050405020304" pitchFamily="18" charset="0"/>
              </a:rPr>
              <a:t> </a:t>
            </a:r>
            <a:r>
              <a:rPr lang="vi-VN">
                <a:latin typeface="Times New Roman" panose="02020603050405020304" pitchFamily="18" charset="0"/>
                <a:cs typeface="Times New Roman" panose="02020603050405020304" pitchFamily="18" charset="0"/>
              </a:rPr>
              <a:t>bày</a:t>
            </a:r>
            <a:r>
              <a:rPr lang="en-US">
                <a:latin typeface="Times New Roman" panose="02020603050405020304" pitchFamily="18" charset="0"/>
                <a:cs typeface="Times New Roman" panose="02020603050405020304" pitchFamily="18" charset="0"/>
              </a:rPr>
              <a:t> </a:t>
            </a:r>
            <a:r>
              <a:rPr lang="vi-VN">
                <a:latin typeface="Times New Roman" panose="02020603050405020304" pitchFamily="18" charset="0"/>
                <a:cs typeface="Times New Roman" panose="02020603050405020304" pitchFamily="18" charset="0"/>
              </a:rPr>
              <a:t>cho các tài liệu viết bằng HTML, XHTML, XML, SVG, hay UML</a:t>
            </a:r>
          </a:p>
          <a:p>
            <a:pPr marL="285750" indent="-285750" algn="just">
              <a:lnSpc>
                <a:spcPct val="150000"/>
              </a:lnSpc>
              <a:buFont typeface="Wingdings" panose="05000000000000000000" pitchFamily="2" charset="2"/>
              <a:buChar char="ü"/>
              <a:defRPr/>
            </a:pPr>
            <a:r>
              <a:rPr lang="vi-VN">
                <a:latin typeface="Times New Roman" panose="02020603050405020304" pitchFamily="18" charset="0"/>
                <a:cs typeface="Times New Roman" panose="02020603050405020304" pitchFamily="18" charset="0"/>
              </a:rPr>
              <a:t>JavaScript</a:t>
            </a:r>
            <a:r>
              <a:rPr lang="en-US">
                <a:latin typeface="Times New Roman" panose="02020603050405020304" pitchFamily="18" charset="0"/>
                <a:cs typeface="Times New Roman" panose="02020603050405020304" pitchFamily="18" charset="0"/>
              </a:rPr>
              <a:t> :</a:t>
            </a:r>
            <a:r>
              <a:rPr lang="vi-VN">
                <a:latin typeface="Times New Roman" panose="02020603050405020304" pitchFamily="18" charset="0"/>
                <a:cs typeface="Times New Roman" panose="02020603050405020304" pitchFamily="18" charset="0"/>
              </a:rPr>
              <a:t> là một ngôn ngữ dạng script thường được sử dụng cho việc lập trình web ở phía client, nó tuân theo chuẩn ECMAScript. Là một ngôn ngữ linh động, cú pháp dễ sử dụng như các ngôn ngữ khác và dễ dàng lập trình</a:t>
            </a:r>
            <a:endParaRPr lang="en-GB">
              <a:latin typeface="Times New Roman" panose="02020603050405020304" pitchFamily="18" charset="0"/>
              <a:cs typeface="Times New Roman" panose="02020603050405020304" pitchFamily="18" charset="0"/>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1000" fill="hold"/>
                                        <p:tgtEl>
                                          <p:spTgt spid="2"/>
                                        </p:tgtEl>
                                      </p:cBhvr>
                                      <p:by x="25000" y="25000"/>
                                    </p:animScale>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ipe(left)">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0" y="506730"/>
            <a:ext cx="12192000" cy="5899785"/>
          </a:xfrm>
          <a:prstGeom prst="roundRect">
            <a:avLst>
              <a:gd name="adj" fmla="val 0"/>
            </a:avLst>
          </a:prstGeom>
          <a:solidFill>
            <a:schemeClr val="bg1"/>
          </a:solidFill>
          <a:ln>
            <a:noFill/>
          </a:ln>
          <a:effectLst>
            <a:outerShdw blurRad="50800" dist="38100" dir="5400000" algn="t" rotWithShape="0">
              <a:prstClr val="black">
                <a:alpha val="4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Source Han Serif SC" panose="02020700000000000000" pitchFamily="18" charset="-122"/>
              <a:ea typeface="Source Han Serif SC" panose="02020700000000000000" pitchFamily="18" charset="-122"/>
              <a:cs typeface="+mn-ea"/>
              <a:sym typeface="Source Han Serif SC" panose="02020700000000000000" pitchFamily="18" charset="-122"/>
            </a:endParaRPr>
          </a:p>
        </p:txBody>
      </p:sp>
      <p:sp>
        <p:nvSpPr>
          <p:cNvPr id="41" name="文本框 40"/>
          <p:cNvSpPr txBox="1"/>
          <p:nvPr/>
        </p:nvSpPr>
        <p:spPr>
          <a:xfrm>
            <a:off x="3367709" y="506730"/>
            <a:ext cx="5456582" cy="1146778"/>
          </a:xfrm>
          <a:prstGeom prst="rect">
            <a:avLst/>
          </a:prstGeom>
          <a:noFill/>
        </p:spPr>
        <p:txBody>
          <a:bodyPr wrap="square" rtlCol="0">
            <a:normAutofit/>
          </a:bodyPr>
          <a:lstStyle/>
          <a:p>
            <a:pPr algn="ctr"/>
            <a:r>
              <a:rPr lang="en-US" altLang="vi-VN" sz="2600" b="1">
                <a:solidFill>
                  <a:srgbClr val="004195"/>
                </a:solidFill>
                <a:latin typeface="Noto Sans"/>
                <a:ea typeface="Noto Sans"/>
                <a:cs typeface="+mn-ea"/>
                <a:sym typeface="Source Han Serif SC" panose="02020700000000000000" pitchFamily="18" charset="-122"/>
              </a:rPr>
              <a:t>CÔNG NGHỆ THIẾT KẾ WEBSITE</a:t>
            </a:r>
            <a:endParaRPr lang="vi-VN" altLang="vi-VN" sz="2600" b="1">
              <a:solidFill>
                <a:srgbClr val="004195"/>
              </a:solidFill>
              <a:latin typeface="Noto Sans"/>
              <a:ea typeface="Noto Sans"/>
              <a:cs typeface="+mn-ea"/>
              <a:sym typeface="Source Han Serif SC" panose="02020700000000000000" pitchFamily="18" charset="-122"/>
            </a:endParaRPr>
          </a:p>
        </p:txBody>
      </p:sp>
      <p:sp>
        <p:nvSpPr>
          <p:cNvPr id="5" name="Freeform 28">
            <a:extLst>
              <a:ext uri="{FF2B5EF4-FFF2-40B4-BE49-F238E27FC236}">
                <a16:creationId xmlns:a16="http://schemas.microsoft.com/office/drawing/2014/main" id="{88F0B5B9-6371-7FB6-08AC-F709234C5976}"/>
              </a:ext>
            </a:extLst>
          </p:cNvPr>
          <p:cNvSpPr/>
          <p:nvPr/>
        </p:nvSpPr>
        <p:spPr>
          <a:xfrm>
            <a:off x="1476375" y="1628775"/>
            <a:ext cx="1833563" cy="1587500"/>
          </a:xfrm>
          <a:custGeom>
            <a:avLst/>
            <a:gdLst>
              <a:gd name="connsiteX0" fmla="*/ 0 w 1835025"/>
              <a:gd name="connsiteY0" fmla="*/ 793756 h 1587512"/>
              <a:gd name="connsiteX1" fmla="*/ 453552 w 1835025"/>
              <a:gd name="connsiteY1" fmla="*/ 0 h 1587512"/>
              <a:gd name="connsiteX2" fmla="*/ 1381473 w 1835025"/>
              <a:gd name="connsiteY2" fmla="*/ 0 h 1587512"/>
              <a:gd name="connsiteX3" fmla="*/ 1835025 w 1835025"/>
              <a:gd name="connsiteY3" fmla="*/ 793756 h 1587512"/>
              <a:gd name="connsiteX4" fmla="*/ 1381473 w 1835025"/>
              <a:gd name="connsiteY4" fmla="*/ 1587512 h 1587512"/>
              <a:gd name="connsiteX5" fmla="*/ 453552 w 1835025"/>
              <a:gd name="connsiteY5" fmla="*/ 1587512 h 1587512"/>
              <a:gd name="connsiteX6" fmla="*/ 0 w 1835025"/>
              <a:gd name="connsiteY6" fmla="*/ 793756 h 1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025" h="1587512">
                <a:moveTo>
                  <a:pt x="0" y="793756"/>
                </a:moveTo>
                <a:lnTo>
                  <a:pt x="453552" y="0"/>
                </a:lnTo>
                <a:lnTo>
                  <a:pt x="1381473" y="0"/>
                </a:lnTo>
                <a:lnTo>
                  <a:pt x="1835025" y="793756"/>
                </a:lnTo>
                <a:lnTo>
                  <a:pt x="1381473" y="1587512"/>
                </a:lnTo>
                <a:lnTo>
                  <a:pt x="453552" y="1587512"/>
                </a:lnTo>
                <a:lnTo>
                  <a:pt x="0" y="793756"/>
                </a:lnTo>
                <a:close/>
              </a:path>
            </a:pathLst>
          </a:custGeom>
          <a:solidFill>
            <a:srgbClr val="00B0F0"/>
          </a:solidFill>
          <a:ln w="19050">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lIns="353633" tIns="312615" rIns="353633" bIns="312615" spcCol="1270" anchor="ctr"/>
          <a:lstStyle/>
          <a:p>
            <a:pPr algn="ctr" defTabSz="1733550">
              <a:lnSpc>
                <a:spcPct val="90000"/>
              </a:lnSpc>
              <a:spcAft>
                <a:spcPct val="35000"/>
              </a:spcAft>
              <a:defRPr/>
            </a:pPr>
            <a:r>
              <a:rPr lang="vi-VN" sz="2000" b="1">
                <a:latin typeface="Calibri" panose="020F0502020204030204" pitchFamily="34" charset="0"/>
                <a:cs typeface="Calibri" panose="020F0502020204030204" pitchFamily="34" charset="0"/>
              </a:rPr>
              <a:t>HTML</a:t>
            </a:r>
          </a:p>
          <a:p>
            <a:pPr algn="ctr" defTabSz="1733550">
              <a:lnSpc>
                <a:spcPct val="90000"/>
              </a:lnSpc>
              <a:spcAft>
                <a:spcPct val="35000"/>
              </a:spcAft>
              <a:defRPr/>
            </a:pPr>
            <a:r>
              <a:rPr lang="vi-VN" sz="2000" b="1">
                <a:latin typeface="Calibri" panose="020F0502020204030204" pitchFamily="34" charset="0"/>
                <a:cs typeface="Calibri" panose="020F0502020204030204" pitchFamily="34" charset="0"/>
              </a:rPr>
              <a:t>CSS</a:t>
            </a:r>
          </a:p>
          <a:p>
            <a:pPr algn="ctr" defTabSz="1733550">
              <a:lnSpc>
                <a:spcPct val="90000"/>
              </a:lnSpc>
              <a:spcAft>
                <a:spcPct val="35000"/>
              </a:spcAft>
              <a:defRPr/>
            </a:pPr>
            <a:r>
              <a:rPr lang="en-GB" sz="2000" b="1">
                <a:latin typeface="Calibri" panose="020F0502020204030204" pitchFamily="34" charset="0"/>
                <a:cs typeface="Calibri" panose="020F0502020204030204" pitchFamily="34" charset="0"/>
              </a:rPr>
              <a:t>JavaScript</a:t>
            </a:r>
          </a:p>
        </p:txBody>
      </p:sp>
      <p:sp>
        <p:nvSpPr>
          <p:cNvPr id="6" name="Freeform 30">
            <a:extLst>
              <a:ext uri="{FF2B5EF4-FFF2-40B4-BE49-F238E27FC236}">
                <a16:creationId xmlns:a16="http://schemas.microsoft.com/office/drawing/2014/main" id="{79B10244-575A-F60F-4257-E4BA2C205E5C}"/>
              </a:ext>
            </a:extLst>
          </p:cNvPr>
          <p:cNvSpPr/>
          <p:nvPr/>
        </p:nvSpPr>
        <p:spPr>
          <a:xfrm>
            <a:off x="3214688" y="2562225"/>
            <a:ext cx="1835150" cy="1587500"/>
          </a:xfrm>
          <a:custGeom>
            <a:avLst/>
            <a:gdLst>
              <a:gd name="connsiteX0" fmla="*/ 0 w 1835025"/>
              <a:gd name="connsiteY0" fmla="*/ 793756 h 1587512"/>
              <a:gd name="connsiteX1" fmla="*/ 453552 w 1835025"/>
              <a:gd name="connsiteY1" fmla="*/ 0 h 1587512"/>
              <a:gd name="connsiteX2" fmla="*/ 1381473 w 1835025"/>
              <a:gd name="connsiteY2" fmla="*/ 0 h 1587512"/>
              <a:gd name="connsiteX3" fmla="*/ 1835025 w 1835025"/>
              <a:gd name="connsiteY3" fmla="*/ 793756 h 1587512"/>
              <a:gd name="connsiteX4" fmla="*/ 1381473 w 1835025"/>
              <a:gd name="connsiteY4" fmla="*/ 1587512 h 1587512"/>
              <a:gd name="connsiteX5" fmla="*/ 453552 w 1835025"/>
              <a:gd name="connsiteY5" fmla="*/ 1587512 h 1587512"/>
              <a:gd name="connsiteX6" fmla="*/ 0 w 1835025"/>
              <a:gd name="connsiteY6" fmla="*/ 793756 h 1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025" h="1587512">
                <a:moveTo>
                  <a:pt x="0" y="793756"/>
                </a:moveTo>
                <a:lnTo>
                  <a:pt x="453552" y="0"/>
                </a:lnTo>
                <a:lnTo>
                  <a:pt x="1381473" y="0"/>
                </a:lnTo>
                <a:lnTo>
                  <a:pt x="1835025" y="793756"/>
                </a:lnTo>
                <a:lnTo>
                  <a:pt x="1381473" y="1587512"/>
                </a:lnTo>
                <a:lnTo>
                  <a:pt x="453552" y="1587512"/>
                </a:lnTo>
                <a:lnTo>
                  <a:pt x="0" y="793756"/>
                </a:lnTo>
                <a:close/>
              </a:path>
            </a:pathLst>
          </a:custGeom>
          <a:solidFill>
            <a:srgbClr val="0070C0"/>
          </a:solidFill>
        </p:spPr>
        <p:style>
          <a:lnRef idx="3">
            <a:schemeClr val="lt1"/>
          </a:lnRef>
          <a:fillRef idx="1">
            <a:schemeClr val="accent1"/>
          </a:fillRef>
          <a:effectRef idx="1">
            <a:schemeClr val="accent1"/>
          </a:effectRef>
          <a:fontRef idx="minor">
            <a:schemeClr val="lt1"/>
          </a:fontRef>
        </p:style>
        <p:txBody>
          <a:bodyPr lIns="353633" tIns="312615" rIns="353633" bIns="312615" spcCol="1270" anchor="ctr"/>
          <a:lstStyle/>
          <a:p>
            <a:pPr algn="ctr" defTabSz="1733550">
              <a:lnSpc>
                <a:spcPct val="150000"/>
              </a:lnSpc>
              <a:spcAft>
                <a:spcPct val="35000"/>
              </a:spcAft>
              <a:defRPr/>
            </a:pPr>
            <a:r>
              <a:rPr lang="vi-VN" sz="2400" b="1">
                <a:latin typeface="Calibri" panose="020F0502020204030204" pitchFamily="34" charset="0"/>
                <a:cs typeface="Calibri" panose="020F0502020204030204" pitchFamily="34" charset="0"/>
              </a:rPr>
              <a:t>PHP</a:t>
            </a:r>
            <a:br>
              <a:rPr lang="vi-VN" sz="2400" b="1">
                <a:latin typeface="Calibri" panose="020F0502020204030204" pitchFamily="34" charset="0"/>
                <a:cs typeface="Calibri" panose="020F0502020204030204" pitchFamily="34" charset="0"/>
              </a:rPr>
            </a:br>
            <a:r>
              <a:rPr lang="vi-VN" sz="2400" b="1">
                <a:latin typeface="Calibri" panose="020F0502020204030204" pitchFamily="34" charset="0"/>
                <a:cs typeface="Calibri" panose="020F0502020204030204" pitchFamily="34" charset="0"/>
              </a:rPr>
              <a:t>LARAVEL</a:t>
            </a:r>
            <a:endParaRPr lang="en-GB" sz="2400" b="1">
              <a:latin typeface="Calibri" panose="020F0502020204030204" pitchFamily="34" charset="0"/>
              <a:cs typeface="Calibri" panose="020F0502020204030204" pitchFamily="34" charset="0"/>
            </a:endParaRPr>
          </a:p>
        </p:txBody>
      </p:sp>
      <p:sp>
        <p:nvSpPr>
          <p:cNvPr id="7" name="Freeform 32">
            <a:extLst>
              <a:ext uri="{FF2B5EF4-FFF2-40B4-BE49-F238E27FC236}">
                <a16:creationId xmlns:a16="http://schemas.microsoft.com/office/drawing/2014/main" id="{39A0DAF6-F959-4659-3C26-C881BB6CE543}"/>
              </a:ext>
            </a:extLst>
          </p:cNvPr>
          <p:cNvSpPr/>
          <p:nvPr/>
        </p:nvSpPr>
        <p:spPr>
          <a:xfrm>
            <a:off x="1225550" y="3536950"/>
            <a:ext cx="2239963" cy="1936750"/>
          </a:xfrm>
          <a:custGeom>
            <a:avLst/>
            <a:gdLst>
              <a:gd name="connsiteX0" fmla="*/ 0 w 2239220"/>
              <a:gd name="connsiteY0" fmla="*/ 968508 h 1937016"/>
              <a:gd name="connsiteX1" fmla="*/ 553405 w 2239220"/>
              <a:gd name="connsiteY1" fmla="*/ 0 h 1937016"/>
              <a:gd name="connsiteX2" fmla="*/ 1685815 w 2239220"/>
              <a:gd name="connsiteY2" fmla="*/ 0 h 1937016"/>
              <a:gd name="connsiteX3" fmla="*/ 2239220 w 2239220"/>
              <a:gd name="connsiteY3" fmla="*/ 968508 h 1937016"/>
              <a:gd name="connsiteX4" fmla="*/ 1685815 w 2239220"/>
              <a:gd name="connsiteY4" fmla="*/ 1937016 h 1937016"/>
              <a:gd name="connsiteX5" fmla="*/ 553405 w 2239220"/>
              <a:gd name="connsiteY5" fmla="*/ 1937016 h 1937016"/>
              <a:gd name="connsiteX6" fmla="*/ 0 w 2239220"/>
              <a:gd name="connsiteY6" fmla="*/ 968508 h 19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9220" h="1937016">
                <a:moveTo>
                  <a:pt x="0" y="968508"/>
                </a:moveTo>
                <a:lnTo>
                  <a:pt x="553405" y="0"/>
                </a:lnTo>
                <a:lnTo>
                  <a:pt x="1685815" y="0"/>
                </a:lnTo>
                <a:lnTo>
                  <a:pt x="2239220" y="968508"/>
                </a:lnTo>
                <a:lnTo>
                  <a:pt x="1685815" y="1937016"/>
                </a:lnTo>
                <a:lnTo>
                  <a:pt x="553405" y="1937016"/>
                </a:lnTo>
                <a:lnTo>
                  <a:pt x="0" y="968508"/>
                </a:lnTo>
                <a:close/>
              </a:path>
            </a:pathLst>
          </a:custGeom>
          <a:noFill/>
          <a:ln w="28575">
            <a:solidFill>
              <a:srgbClr val="0070C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430760" tIns="380681" rIns="430760" bIns="380681" spcCol="1270" anchor="ctr"/>
          <a:lstStyle/>
          <a:p>
            <a:pPr algn="ctr" defTabSz="2089150">
              <a:lnSpc>
                <a:spcPct val="90000"/>
              </a:lnSpc>
              <a:spcAft>
                <a:spcPct val="35000"/>
              </a:spcAft>
              <a:defRPr/>
            </a:pPr>
            <a:endParaRPr lang="en-GB" sz="4700"/>
          </a:p>
        </p:txBody>
      </p:sp>
      <p:pic>
        <p:nvPicPr>
          <p:cNvPr id="8" name="Picture 33">
            <a:extLst>
              <a:ext uri="{FF2B5EF4-FFF2-40B4-BE49-F238E27FC236}">
                <a16:creationId xmlns:a16="http://schemas.microsoft.com/office/drawing/2014/main" id="{E29ED64E-288C-D8F6-06C9-2AF18357609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3671888"/>
            <a:ext cx="2306638" cy="159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Line Callout 1 34">
            <a:extLst>
              <a:ext uri="{FF2B5EF4-FFF2-40B4-BE49-F238E27FC236}">
                <a16:creationId xmlns:a16="http://schemas.microsoft.com/office/drawing/2014/main" id="{0BB1AEF2-0289-78D3-6217-4213270279ED}"/>
              </a:ext>
            </a:extLst>
          </p:cNvPr>
          <p:cNvSpPr/>
          <p:nvPr/>
        </p:nvSpPr>
        <p:spPr>
          <a:xfrm>
            <a:off x="5724525" y="1484313"/>
            <a:ext cx="6063284" cy="4866957"/>
          </a:xfrm>
          <a:prstGeom prst="borderCallout1">
            <a:avLst>
              <a:gd name="adj1" fmla="val 31058"/>
              <a:gd name="adj2" fmla="val -133"/>
              <a:gd name="adj3" fmla="val 39064"/>
              <a:gd name="adj4" fmla="val -13620"/>
            </a:avLst>
          </a:prstGeom>
          <a:ln w="19050">
            <a:solidFill>
              <a:srgbClr val="0070C0"/>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anchor="ctr"/>
          <a:lstStyle/>
          <a:p>
            <a:pPr marL="285750" indent="-285750" algn="just">
              <a:lnSpc>
                <a:spcPct val="150000"/>
              </a:lnSpc>
              <a:buFont typeface="Wingdings" panose="05000000000000000000" pitchFamily="2" charset="2"/>
              <a:buChar char="ü"/>
              <a:defRPr/>
            </a:pPr>
            <a:r>
              <a:rPr lang="vi-VN">
                <a:latin typeface="Times New Roman" panose="02020603050405020304" pitchFamily="18" charset="0"/>
                <a:cs typeface="Times New Roman" panose="02020603050405020304" pitchFamily="18" charset="0"/>
              </a:rPr>
              <a:t>PHP (Hypertext Preprocessor) là một ngôn ngữ lập trình kịch bản hay một loại mã lệnh chủ yếu được dùng để phát triển các ứng dụng viết cho máy chủ, mã nguồn mở, dùng cho mục đích tổng quát. Nó rất thích hợp với web và có thể dễ dàng nhúng vào trang HTML.</a:t>
            </a:r>
          </a:p>
          <a:p>
            <a:pPr marL="285750" indent="-285750" algn="just">
              <a:lnSpc>
                <a:spcPct val="150000"/>
              </a:lnSpc>
              <a:buFont typeface="Wingdings" panose="05000000000000000000" pitchFamily="2" charset="2"/>
              <a:buChar char="ü"/>
              <a:defRPr/>
            </a:pPr>
            <a:r>
              <a:rPr lang="vi-VN">
                <a:latin typeface="Times New Roman" panose="02020603050405020304" pitchFamily="18" charset="0"/>
                <a:cs typeface="Times New Roman" panose="02020603050405020304" pitchFamily="18" charset="0"/>
              </a:rPr>
              <a:t>Laravel là một trong những PHP Web Framework phổ biến nhất theo mẫu MVC (Model-View- Controller). Laravel framework là nguồn mở và miễn phí giúp bạn đưa ra các sản phẩm chất lượng cao. Các code sẽ được giảm thiểu đi, nhưng vẫn đạt tiêu chuẩn ngành, giúp bạn tiết kiệm được hàng trăm giờ đồng hồ dành cho việc phát triển.</a:t>
            </a:r>
            <a:endParaRPr lang="en-GB">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1050359712"/>
      </p:ext>
    </p:extLst>
  </p:cSld>
  <p:clrMapOvr>
    <a:masterClrMapping/>
  </p:clrMapOvr>
  <mc:AlternateContent xmlns:mc="http://schemas.openxmlformats.org/markup-compatibility/2006" xmlns:p14="http://schemas.microsoft.com/office/powerpoint/2010/main">
    <mc:Choice Requires="p14">
      <p:transition spd="slow" p14:dur="2000" advTm="1000">
        <p:random/>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slow"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par>
                                <p:cTn id="8" presetID="16" presetClass="entr" presetSubtype="21"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arn(inVertical)">
                                      <p:cBhvr>
                                        <p:cTn id="10" dur="500"/>
                                        <p:tgtEl>
                                          <p:spTgt spid="5"/>
                                        </p:tgtEl>
                                      </p:cBhvr>
                                    </p:animEffect>
                                  </p:childTnLst>
                                </p:cTn>
                              </p:par>
                              <p:par>
                                <p:cTn id="11" presetID="16" presetClass="entr" presetSubtype="21"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arn(inVertical)">
                                      <p:cBhvr>
                                        <p:cTn id="13" dur="500"/>
                                        <p:tgtEl>
                                          <p:spTgt spid="6"/>
                                        </p:tgtEl>
                                      </p:cBhvr>
                                    </p:animEffect>
                                  </p:childTnLst>
                                </p:cTn>
                              </p:par>
                              <p:par>
                                <p:cTn id="14" presetID="16" presetClass="entr" presetSubtype="21"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barn(inVertical)">
                                      <p:cBhvr>
                                        <p:cTn id="16" dur="500"/>
                                        <p:tgtEl>
                                          <p:spTgt spid="7"/>
                                        </p:tgtEl>
                                      </p:cBhvr>
                                    </p:animEffect>
                                  </p:childTnLst>
                                </p:cTn>
                              </p:par>
                              <p:par>
                                <p:cTn id="17" presetID="16" presetClass="entr" presetSubtype="21"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barn(inVertical)">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S_OS" val="Unix 2.6 unknown"/>
  <p:tag name="AS_RELEASE_DATE" val="2021.11.30"/>
  <p:tag name="AS_TITLE" val="Aspose.Slides for Java"/>
  <p:tag name="AS_VERSION" val="21.11"/>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TEMPLATE_CATEGORY" val="custom"/>
  <p:tag name="KSO_WM_TEMPLATE_COLOR_TYPE" val="1"/>
  <p:tag name="KSO_WM_TEMPLATE_INDEX" val="20205176"/>
  <p:tag name="KSO_WM_TEMPLATE_MASTER_TYPE" val="0"/>
  <p:tag name="KSO_WM_TEMPLATE_SUBCATEGORY" val="19"/>
  <p:tag name="KSO_WM_TEMPLATE_THUMBS_INDEX" val="1、4、7、12、13、14、15、16、17、18、20、24、25、28、33、36、40、43、44"/>
  <p:tag name="KSO_WM_UNIT_SHOW_EDIT_AREA_INDICATION" val="1"/>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TEMPLATE_CATEGORY" val="custom"/>
  <p:tag name="KSO_WM_TEMPLATE_INDEX" val="20205176"/>
  <p:tag name="KSO_WM_UNIT_COMPATIBLE" val="0"/>
  <p:tag name="KSO_WM_UNIT_DIAGRAM_ISNUMVISUAL" val="0"/>
  <p:tag name="KSO_WM_UNIT_DIAGRAM_ISREFERUNIT" val="0"/>
  <p:tag name="KSO_WM_UNIT_HIGHLIGHT" val="0"/>
  <p:tag name="KSO_WM_UNIT_ID" val="_0**"/>
  <p:tag name="KSO_WM_UNIT_LAYERLEVEL" val="1"/>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TEMPLATE_CATEGORY" val="custom"/>
  <p:tag name="KSO_WM_TEMPLATE_INDEX" val="20205176"/>
  <p:tag name="KSO_WM_UNIT_COMPATIBLE" val="0"/>
  <p:tag name="KSO_WM_UNIT_DIAGRAM_ISNUMVISUAL" val="0"/>
  <p:tag name="KSO_WM_UNIT_DIAGRAM_ISREFERUNIT" val="0"/>
  <p:tag name="KSO_WM_UNIT_HIGHLIGHT" val="0"/>
  <p:tag name="KSO_WM_UNIT_ID" val="_0**"/>
  <p:tag name="KSO_WM_UNIT_LAYERLEVEL" val="1"/>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9.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66.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ISPRING_SLIDE_INDENT_LEVEL" val="0"/>
</p:tagLst>
</file>

<file path=ppt/tags/tag67.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70.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72.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82.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ISPRING_SLIDE_INDENT_LEVEL" val="0"/>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5081"/>
</p:tagLst>
</file>

<file path=ppt/tags/tag84.xml><?xml version="1.0" encoding="utf-8"?>
<p:tagLst xmlns:a="http://schemas.openxmlformats.org/drawingml/2006/main" xmlns:r="http://schemas.openxmlformats.org/officeDocument/2006/relationships" xmlns:p="http://schemas.openxmlformats.org/presentationml/2006/main">
  <p:tag name="PA" val="v3.0.0"/>
</p:tagLst>
</file>

<file path=ppt/tags/tag85.xml><?xml version="1.0" encoding="utf-8"?>
<p:tagLst xmlns:a="http://schemas.openxmlformats.org/drawingml/2006/main" xmlns:r="http://schemas.openxmlformats.org/officeDocument/2006/relationships" xmlns:p="http://schemas.openxmlformats.org/presentationml/2006/main">
  <p:tag name="PA" val="v3.0.0"/>
</p:tagLst>
</file>

<file path=ppt/tags/tag86.xml><?xml version="1.0" encoding="utf-8"?>
<p:tagLst xmlns:a="http://schemas.openxmlformats.org/drawingml/2006/main" xmlns:r="http://schemas.openxmlformats.org/officeDocument/2006/relationships" xmlns:p="http://schemas.openxmlformats.org/presentationml/2006/main">
  <p:tag name="PA" val="v3.0.0"/>
</p:tagLst>
</file>

<file path=ppt/tags/tag87.xml><?xml version="1.0" encoding="utf-8"?>
<p:tagLst xmlns:a="http://schemas.openxmlformats.org/drawingml/2006/main" xmlns:r="http://schemas.openxmlformats.org/officeDocument/2006/relationships" xmlns:p="http://schemas.openxmlformats.org/presentationml/2006/main">
  <p:tag name="PA" val="v3.0.0"/>
</p:tagLst>
</file>

<file path=ppt/tags/tag88.xml><?xml version="1.0" encoding="utf-8"?>
<p:tagLst xmlns:a="http://schemas.openxmlformats.org/drawingml/2006/main" xmlns:r="http://schemas.openxmlformats.org/officeDocument/2006/relationships" xmlns:p="http://schemas.openxmlformats.org/presentationml/2006/main">
  <p:tag name="PA" val="v3.0.0"/>
</p:tagLst>
</file>

<file path=ppt/tags/tag89.xml><?xml version="1.0" encoding="utf-8"?>
<p:tagLst xmlns:a="http://schemas.openxmlformats.org/drawingml/2006/main" xmlns:r="http://schemas.openxmlformats.org/officeDocument/2006/relationships" xmlns:p="http://schemas.openxmlformats.org/presentationml/2006/main">
  <p:tag name="PA" val="v3.0.0"/>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90.xml><?xml version="1.0" encoding="utf-8"?>
<p:tagLst xmlns:a="http://schemas.openxmlformats.org/drawingml/2006/main" xmlns:r="http://schemas.openxmlformats.org/officeDocument/2006/relationships" xmlns:p="http://schemas.openxmlformats.org/presentationml/2006/main">
  <p:tag name="PA" val="v3.0.0"/>
</p:tagLst>
</file>

<file path=ppt/tags/tag91.xml><?xml version="1.0" encoding="utf-8"?>
<p:tagLst xmlns:a="http://schemas.openxmlformats.org/drawingml/2006/main" xmlns:r="http://schemas.openxmlformats.org/officeDocument/2006/relationships" xmlns:p="http://schemas.openxmlformats.org/presentationml/2006/main">
  <p:tag name="PA" val="v3.0.0"/>
</p:tagLst>
</file>

<file path=ppt/tags/tag92.xml><?xml version="1.0" encoding="utf-8"?>
<p:tagLst xmlns:a="http://schemas.openxmlformats.org/drawingml/2006/main" xmlns:r="http://schemas.openxmlformats.org/officeDocument/2006/relationships" xmlns:p="http://schemas.openxmlformats.org/presentationml/2006/main">
  <p:tag name="PA" val="v3.0.0"/>
</p:tagLst>
</file>

<file path=ppt/tags/tag93.xml><?xml version="1.0" encoding="utf-8"?>
<p:tagLst xmlns:a="http://schemas.openxmlformats.org/drawingml/2006/main" xmlns:r="http://schemas.openxmlformats.org/officeDocument/2006/relationships" xmlns:p="http://schemas.openxmlformats.org/presentationml/2006/main">
  <p:tag name="PA" val="v3.0.0"/>
</p:tagLst>
</file>

<file path=ppt/tags/tag94.xml><?xml version="1.0" encoding="utf-8"?>
<p:tagLst xmlns:a="http://schemas.openxmlformats.org/drawingml/2006/main" xmlns:r="http://schemas.openxmlformats.org/officeDocument/2006/relationships" xmlns:p="http://schemas.openxmlformats.org/presentationml/2006/main">
  <p:tag name="PA" val="v3.0.0"/>
</p:tagLst>
</file>

<file path=ppt/tags/tag95.xml><?xml version="1.0" encoding="utf-8"?>
<p:tagLst xmlns:a="http://schemas.openxmlformats.org/drawingml/2006/main" xmlns:r="http://schemas.openxmlformats.org/officeDocument/2006/relationships" xmlns:p="http://schemas.openxmlformats.org/presentationml/2006/main">
  <p:tag name="PA" val="v3.0.0"/>
</p:tagLst>
</file>

<file path=ppt/tags/tag96.xml><?xml version="1.0" encoding="utf-8"?>
<p:tagLst xmlns:a="http://schemas.openxmlformats.org/drawingml/2006/main" xmlns:r="http://schemas.openxmlformats.org/officeDocument/2006/relationships" xmlns:p="http://schemas.openxmlformats.org/presentationml/2006/main">
  <p:tag name="PA" val="v3.0.0"/>
</p:tagLst>
</file>

<file path=ppt/tags/tag97.xml><?xml version="1.0" encoding="utf-8"?>
<p:tagLst xmlns:a="http://schemas.openxmlformats.org/drawingml/2006/main" xmlns:r="http://schemas.openxmlformats.org/officeDocument/2006/relationships" xmlns:p="http://schemas.openxmlformats.org/presentationml/2006/main">
  <p:tag name="KSO_WM_BEAUTIFY_FLAG" val="#wm#"/>
  <p:tag name="KSO_WM_SLIDE_ID" val="custom20205081_1"/>
  <p:tag name="KSO_WM_SLIDE_INDEX" val="1"/>
  <p:tag name="KSO_WM_SLIDE_ITEM_CNT" val="0"/>
  <p:tag name="KSO_WM_SLIDE_LAYOUT" val="a_b"/>
  <p:tag name="KSO_WM_SLIDE_LAYOUT_CNT" val="1_1"/>
  <p:tag name="KSO_WM_SLIDE_SUBTYPE" val="defaultBlank"/>
  <p:tag name="KSO_WM_SLIDE_TYPE" val="title"/>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heme/theme1.xml><?xml version="1.0" encoding="utf-8"?>
<a:theme xmlns:a="http://schemas.openxmlformats.org/drawingml/2006/main" name="Office 主题​​">
  <a:themeElements>
    <a:clrScheme name="新版空白演示配色">
      <a:dk1>
        <a:srgbClr val="000000"/>
      </a:dk1>
      <a:lt1>
        <a:srgbClr val="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gbzsqt23">
      <a:majorFont>
        <a:latin typeface="Source Han Serif SC"/>
        <a:ea typeface="Source Han Serif SC"/>
        <a:cs typeface="Arial"/>
      </a:majorFont>
      <a:minorFont>
        <a:latin typeface="Source Han Serif SC"/>
        <a:ea typeface="Source Han Serif SC"/>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Calibri Light"/>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Calibri"/>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Calibri Light"/>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Calibri"/>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TotalTime>
  <Words>2468</Words>
  <Application>Microsoft Office PowerPoint</Application>
  <PresentationFormat>Widescreen</PresentationFormat>
  <Paragraphs>259</Paragraphs>
  <Slides>35</Slides>
  <Notes>21</Notes>
  <HiddenSlides>0</HiddenSlides>
  <MMClips>1</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5</vt:i4>
      </vt:variant>
    </vt:vector>
  </HeadingPairs>
  <TitlesOfParts>
    <vt:vector size="44" baseType="lpstr">
      <vt:lpstr>Arial</vt:lpstr>
      <vt:lpstr>Calibri</vt:lpstr>
      <vt:lpstr>Courier New</vt:lpstr>
      <vt:lpstr>Noto Sans</vt:lpstr>
      <vt:lpstr>Source Han Serif SC</vt:lpstr>
      <vt:lpstr>Tahoma</vt:lpstr>
      <vt:lpstr>Times New Roman</vt:lpstr>
      <vt:lpstr>Wingdings</vt:lpstr>
      <vt:lpstr>Office 主题​​</vt:lpstr>
      <vt:lpstr>GIÁO VIÊN HƯỚNG DẪN:  TH.S NGUYỄN TÂM THANH TÙ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linh vo</cp:lastModifiedBy>
  <cp:revision>191</cp:revision>
  <dcterms:created xsi:type="dcterms:W3CDTF">2019-06-19T02:08:00Z</dcterms:created>
  <dcterms:modified xsi:type="dcterms:W3CDTF">2024-07-07T07:3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9D75B5C337F24784BCF518D84A26F703</vt:lpwstr>
  </property>
  <property fmtid="{D5CDD505-2E9C-101B-9397-08002B2CF9AE}" pid="3" name="KSOProductBuildVer">
    <vt:lpwstr>2052-11.1.0.10314</vt:lpwstr>
  </property>
</Properties>
</file>